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33"/>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 id="2147475186" r:id="rId27"/>
    <p:sldId id="2147475187" r:id="rId28"/>
    <p:sldId id="2147475188" r:id="rId29"/>
    <p:sldId id="2147475189" r:id="rId30"/>
    <p:sldId id="2147475190" r:id="rId31"/>
    <p:sldId id="2147475191"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D2B9F263-3858-4B9D-8150-ED8075AFC82E}">
          <p14:sldIdLst>
            <p14:sldId id="2147475164"/>
            <p14:sldId id="2147475165"/>
            <p14:sldId id="2147475166"/>
            <p14:sldId id="2147475167"/>
            <p14:sldId id="2147475168"/>
            <p14:sldId id="2147475169"/>
            <p14:sldId id="2147475170"/>
          </p14:sldIdLst>
        </p14:section>
        <p14:section name="Innovation ranking" id="{35B0877A-B7B0-4F29-BAEA-526BFD69CB4B}">
          <p14:sldIdLst>
            <p14:sldId id="2147475171"/>
            <p14:sldId id="2147475172"/>
            <p14:sldId id="2147475173"/>
            <p14:sldId id="2147475174"/>
            <p14:sldId id="2147475175"/>
            <p14:sldId id="2147475176"/>
            <p14:sldId id="2147475177"/>
          </p14:sldIdLst>
        </p14:section>
        <p14:section name="Innovation potential" id="{8735A034-892B-4EB4-8208-F08C02FFFC4C}">
          <p14:sldIdLst>
            <p14:sldId id="2147475178"/>
            <p14:sldId id="2147475179"/>
            <p14:sldId id="2147475180"/>
            <p14:sldId id="2147475181"/>
            <p14:sldId id="2147475182"/>
            <p14:sldId id="2147475183"/>
            <p14:sldId id="2147475184"/>
          </p14:sldIdLst>
        </p14:section>
        <p14:section name="Innovation sourcing" id="{46E399C1-62A7-4515-A99D-342BC6ACA894}">
          <p14:sldIdLst>
            <p14:sldId id="2147475185"/>
            <p14:sldId id="2147475186"/>
            <p14:sldId id="2147475187"/>
            <p14:sldId id="2147475188"/>
            <p14:sldId id="2147475189"/>
            <p14:sldId id="2147475190"/>
            <p14:sldId id="214747519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notesMaster" Target="notesMasters/notesMaster1.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37" Type="http://schemas.openxmlformats.org/officeDocument/2006/relationships/tableStyles" Target="tableStyles.xml"/><Relationship Id="rId3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006C6D"/>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Banana Boat Advanced Protection Lotion FPS50+ 360ml</c:v>
                </c:pt>
                <c:pt idx="7">
                  <c:v>Hawaiian Tropic Ozono Lotion FPS50+ 240ml</c:v>
                </c:pt>
                <c:pt idx="8">
                  <c:v>Caribbean Beach Sport Cream FPS50+ 250g</c:v>
                </c:pt>
                <c:pt idx="9">
                  <c:v>Caribbean Beach Ultra Cream FPS50+ 250g</c:v>
                </c:pt>
                <c:pt idx="10">
                  <c:v>Hawaiian Tropic Island Sport Lotion FPS50 240ml</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Avène Emulsion Mat Perfect Cream FPS50+ 50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41048069437784</c:v>
                </c:pt>
                <c:pt idx="1">
                  <c:v>0.03889940512125836</c:v>
                </c:pt>
                <c:pt idx="2">
                  <c:v>0.03572147227789657</c:v>
                </c:pt>
                <c:pt idx="3">
                  <c:v>0.03525919487644611</c:v>
                </c:pt>
                <c:pt idx="4">
                  <c:v>0.03231160653956626</c:v>
                </c:pt>
                <c:pt idx="5">
                  <c:v>0.030454035476373483</c:v>
                </c:pt>
                <c:pt idx="6">
                  <c:v>0.029565768448713475</c:v>
                </c:pt>
                <c:pt idx="7">
                  <c:v>0.029349244870032293</c:v>
                </c:pt>
                <c:pt idx="8">
                  <c:v>0.028072949270622163</c:v>
                </c:pt>
                <c:pt idx="9">
                  <c:v>0.025714028281423395</c:v>
                </c:pt>
                <c:pt idx="10">
                  <c:v>0.02569895234813553</c:v>
                </c:pt>
                <c:pt idx="11">
                  <c:v>0.024771290254534922</c:v>
                </c:pt>
                <c:pt idx="12">
                  <c:v>0.02245354542817713</c:v>
                </c:pt>
                <c:pt idx="13">
                  <c:v>0.022094248833676156</c:v>
                </c:pt>
                <c:pt idx="14">
                  <c:v>0.01997238758445836</c:v>
                </c:pt>
                <c:pt idx="15">
                  <c:v>0.019322133307597984</c:v>
                </c:pt>
                <c:pt idx="16">
                  <c:v>0.01875667819808553</c:v>
                </c:pt>
                <c:pt idx="17">
                  <c:v>0.018382305339625177</c:v>
                </c:pt>
                <c:pt idx="18">
                  <c:v>0.017710394658958666</c:v>
                </c:pt>
                <c:pt idx="19">
                  <c:v>0.017579139416842523</c:v>
                </c:pt>
                <c:pt idx="20">
                  <c:v>0.016131418203235957</c:v>
                </c:pt>
                <c:pt idx="21">
                  <c:v>0.016032125084795512</c:v>
                </c:pt>
                <c:pt idx="22">
                  <c:v>0.015133104382017487</c:v>
                </c:pt>
                <c:pt idx="23">
                  <c:v>0.013440439035670859</c:v>
                </c:pt>
                <c:pt idx="24">
                  <c:v>0.013246477913933307</c:v>
                </c:pt>
                <c:pt idx="25">
                  <c:v>0.01274859064185144</c:v>
                </c:pt>
                <c:pt idx="26">
                  <c:v>0.012475225538267964</c:v>
                </c:pt>
                <c:pt idx="27">
                  <c:v>0.012450117782278596</c:v>
                </c:pt>
                <c:pt idx="28">
                  <c:v>0.012426062710148665</c:v>
                </c:pt>
                <c:pt idx="29">
                  <c:v>0.011922269719180135</c:v>
                </c:pt>
                <c:pt idx="30">
                  <c:v>0.0111487956668823</c:v>
                </c:pt>
                <c:pt idx="31">
                  <c:v>0.0110847647534436</c:v>
                </c:pt>
                <c:pt idx="32">
                  <c:v>0.010706272905898068</c:v>
                </c:pt>
                <c:pt idx="33">
                  <c:v>0.010419559283952782</c:v>
                </c:pt>
                <c:pt idx="34">
                  <c:v>0.010017991810336562</c:v>
                </c:pt>
                <c:pt idx="35">
                  <c:v>0.009975326310278301</c:v>
                </c:pt>
                <c:pt idx="36">
                  <c:v>0.009825417816242004</c:v>
                </c:pt>
                <c:pt idx="37">
                  <c:v>0.009652781880897113</c:v>
                </c:pt>
                <c:pt idx="38">
                  <c:v>0.009102497729871298</c:v>
                </c:pt>
                <c:pt idx="39">
                  <c:v>0.008924927169482278</c:v>
                </c:pt>
                <c:pt idx="40">
                  <c:v>0.008681395011678528</c:v>
                </c:pt>
                <c:pt idx="41">
                  <c:v>0.008607111683981098</c:v>
                </c:pt>
                <c:pt idx="42">
                  <c:v>0.00826914736207925</c:v>
                </c:pt>
                <c:pt idx="43">
                  <c:v>0.008212205079643016</c:v>
                </c:pt>
                <c:pt idx="44">
                  <c:v>0.007886465227898294</c:v>
                </c:pt>
                <c:pt idx="45">
                  <c:v>0.00785134386183463</c:v>
                </c:pt>
                <c:pt idx="46">
                  <c:v>0.007621546894823316</c:v>
                </c:pt>
                <c:pt idx="47">
                  <c:v>0.007207687946563468</c:v>
                </c:pt>
                <c:pt idx="48">
                  <c:v>0.0071023018737762355</c:v>
                </c:pt>
                <c:pt idx="49">
                  <c:v>0.006825712674943065</c:v>
                </c:pt>
                <c:pt idx="50">
                  <c:v>0.006709778337846205</c:v>
                </c:pt>
                <c:pt idx="51">
                  <c:v>0.006537204457760277</c:v>
                </c:pt>
                <c:pt idx="52">
                  <c:v>0.006428125321604387</c:v>
                </c:pt>
                <c:pt idx="53">
                  <c:v>0.006111662359074884</c:v>
                </c:pt>
                <c:pt idx="54">
                  <c:v>0.006080807110078973</c:v>
                </c:pt>
                <c:pt idx="55">
                  <c:v>0.005848431108810818</c:v>
                </c:pt>
                <c:pt idx="56">
                  <c:v>0.00578085125430567</c:v>
                </c:pt>
                <c:pt idx="57">
                  <c:v>0.0051217135966162225</c:v>
                </c:pt>
                <c:pt idx="58">
                  <c:v>0.004856508655431563</c:v>
                </c:pt>
                <c:pt idx="59">
                  <c:v>0.004844428058948075</c:v>
                </c:pt>
                <c:pt idx="60">
                  <c:v>0.0046327820331147854</c:v>
                </c:pt>
                <c:pt idx="61">
                  <c:v>0.004600978370936001</c:v>
                </c:pt>
                <c:pt idx="62">
                  <c:v>0.004598201062528382</c:v>
                </c:pt>
                <c:pt idx="63">
                  <c:v>0.004507252823090626</c:v>
                </c:pt>
                <c:pt idx="64">
                  <c:v>0.004340163566086834</c:v>
                </c:pt>
                <c:pt idx="65">
                  <c:v>0.004267461246668627</c:v>
                </c:pt>
                <c:pt idx="66">
                  <c:v>0.0041838089751272825</c:v>
                </c:pt>
                <c:pt idx="67">
                  <c:v>0.003911790434966958</c:v>
                </c:pt>
                <c:pt idx="68">
                  <c:v>0.003788564189230037</c:v>
                </c:pt>
                <c:pt idx="69">
                  <c:v>0.0037417983513101266</c:v>
                </c:pt>
                <c:pt idx="70">
                  <c:v>0.003501008677951975</c:v>
                </c:pt>
                <c:pt idx="71">
                  <c:v>0.003360846766950037</c:v>
                </c:pt>
                <c:pt idx="72">
                  <c:v>0.0031528980060513377</c:v>
                </c:pt>
                <c:pt idx="73">
                  <c:v>0.002858537642593361</c:v>
                </c:pt>
                <c:pt idx="74">
                  <c:v>0.0027496976602885523</c:v>
                </c:pt>
                <c:pt idx="75">
                  <c:v>0.0025780861945296097</c:v>
                </c:pt>
                <c:pt idx="76">
                  <c:v>0.002397010694085197</c:v>
                </c:pt>
                <c:pt idx="77">
                  <c:v>0.0023796612599740396</c:v>
                </c:pt>
                <c:pt idx="78">
                  <c:v>0.0018305742433360678</c:v>
                </c:pt>
                <c:pt idx="79">
                  <c:v>0.0018268640401119323</c:v>
                </c:pt>
                <c:pt idx="80">
                  <c:v>0.001149832068503256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006C6D"/>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Hawaiian Tropic Ozono Ultra-Light FPS50+ 140ml</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3788338345085</c:v>
                </c:pt>
                <c:pt idx="1">
                  <c:v>0.03986460929727273</c:v>
                </c:pt>
                <c:pt idx="2">
                  <c:v>0.03853683277435475</c:v>
                </c:pt>
                <c:pt idx="3">
                  <c:v>0.03614234970701712</c:v>
                </c:pt>
                <c:pt idx="4">
                  <c:v>0.034111361466346204</c:v>
                </c:pt>
                <c:pt idx="5">
                  <c:v>0.030908954304397114</c:v>
                </c:pt>
                <c:pt idx="6">
                  <c:v>0.030620446861354674</c:v>
                </c:pt>
                <c:pt idx="7">
                  <c:v>0.02880599972252588</c:v>
                </c:pt>
                <c:pt idx="8">
                  <c:v>0.027881244146487925</c:v>
                </c:pt>
                <c:pt idx="9">
                  <c:v>0.026279957394539363</c:v>
                </c:pt>
                <c:pt idx="10">
                  <c:v>0.024892144084108593</c:v>
                </c:pt>
                <c:pt idx="11">
                  <c:v>0.023007430859786578</c:v>
                </c:pt>
                <c:pt idx="12">
                  <c:v>0.022785602477322413</c:v>
                </c:pt>
                <c:pt idx="13">
                  <c:v>0.020990216748787</c:v>
                </c:pt>
                <c:pt idx="14">
                  <c:v>0.019519979591093695</c:v>
                </c:pt>
                <c:pt idx="15">
                  <c:v>0.019014499327574513</c:v>
                </c:pt>
                <c:pt idx="16">
                  <c:v>0.01896648892412455</c:v>
                </c:pt>
                <c:pt idx="17">
                  <c:v>0.01825306689254947</c:v>
                </c:pt>
                <c:pt idx="18">
                  <c:v>0.018060742986395074</c:v>
                </c:pt>
                <c:pt idx="19">
                  <c:v>0.016502005063147033</c:v>
                </c:pt>
                <c:pt idx="20">
                  <c:v>0.016237133627904462</c:v>
                </c:pt>
                <c:pt idx="21">
                  <c:v>0.015685540742823093</c:v>
                </c:pt>
                <c:pt idx="22">
                  <c:v>0.01373693002487352</c:v>
                </c:pt>
                <c:pt idx="23">
                  <c:v>0.013521138736261566</c:v>
                </c:pt>
                <c:pt idx="24">
                  <c:v>0.013087610073088517</c:v>
                </c:pt>
                <c:pt idx="25">
                  <c:v>0.012756040923822164</c:v>
                </c:pt>
                <c:pt idx="26">
                  <c:v>0.012583133789239153</c:v>
                </c:pt>
                <c:pt idx="27">
                  <c:v>0.012532292498498061</c:v>
                </c:pt>
                <c:pt idx="28">
                  <c:v>0.012124482526958942</c:v>
                </c:pt>
                <c:pt idx="29">
                  <c:v>0.011321330434228399</c:v>
                </c:pt>
                <c:pt idx="30">
                  <c:v>0.011308572505015949</c:v>
                </c:pt>
                <c:pt idx="31">
                  <c:v>0.010893667399592863</c:v>
                </c:pt>
                <c:pt idx="32">
                  <c:v>0.010548395540578704</c:v>
                </c:pt>
                <c:pt idx="33">
                  <c:v>0.010332326519971723</c:v>
                </c:pt>
                <c:pt idx="34">
                  <c:v>0.01016979814597602</c:v>
                </c:pt>
                <c:pt idx="35">
                  <c:v>0.009921030067479547</c:v>
                </c:pt>
                <c:pt idx="36">
                  <c:v>0.009800435211652426</c:v>
                </c:pt>
                <c:pt idx="37">
                  <c:v>0.009213030815206741</c:v>
                </c:pt>
                <c:pt idx="38">
                  <c:v>0.009184357519022274</c:v>
                </c:pt>
                <c:pt idx="39">
                  <c:v>0.008848716088813288</c:v>
                </c:pt>
                <c:pt idx="40">
                  <c:v>0.00872061126217874</c:v>
                </c:pt>
                <c:pt idx="41">
                  <c:v>0.008440755981853674</c:v>
                </c:pt>
                <c:pt idx="42">
                  <c:v>0.008290939326220765</c:v>
                </c:pt>
                <c:pt idx="43">
                  <c:v>0.008034261733899394</c:v>
                </c:pt>
                <c:pt idx="44">
                  <c:v>0.007922040790749978</c:v>
                </c:pt>
                <c:pt idx="45">
                  <c:v>0.007733135903576019</c:v>
                </c:pt>
                <c:pt idx="46">
                  <c:v>0.007508135292167022</c:v>
                </c:pt>
                <c:pt idx="47">
                  <c:v>0.007169984668375678</c:v>
                </c:pt>
                <c:pt idx="48">
                  <c:v>0.006947165411200673</c:v>
                </c:pt>
                <c:pt idx="49">
                  <c:v>0.006867330339714066</c:v>
                </c:pt>
                <c:pt idx="50">
                  <c:v>0.0066580110055244335</c:v>
                </c:pt>
                <c:pt idx="51">
                  <c:v>0.006578484104664106</c:v>
                </c:pt>
                <c:pt idx="52">
                  <c:v>0.006318991691271974</c:v>
                </c:pt>
                <c:pt idx="53">
                  <c:v>0.0062240591887637265</c:v>
                </c:pt>
                <c:pt idx="54">
                  <c:v>0.005952365109161011</c:v>
                </c:pt>
                <c:pt idx="55">
                  <c:v>0.005844217034484994</c:v>
                </c:pt>
                <c:pt idx="56">
                  <c:v>0.005277202650808727</c:v>
                </c:pt>
                <c:pt idx="57">
                  <c:v>0.004958648151377024</c:v>
                </c:pt>
                <c:pt idx="58">
                  <c:v>0.004949292258891491</c:v>
                </c:pt>
                <c:pt idx="59">
                  <c:v>0.004736319478236838</c:v>
                </c:pt>
                <c:pt idx="60">
                  <c:v>0.004697394437430111</c:v>
                </c:pt>
                <c:pt idx="61">
                  <c:v>0.004627062787687787</c:v>
                </c:pt>
                <c:pt idx="62">
                  <c:v>0.004560835285316638</c:v>
                </c:pt>
                <c:pt idx="63">
                  <c:v>0.004429184144733548</c:v>
                </c:pt>
                <c:pt idx="64">
                  <c:v>0.004370181727456336</c:v>
                </c:pt>
                <c:pt idx="65">
                  <c:v>0.004222482697442484</c:v>
                </c:pt>
                <c:pt idx="66">
                  <c:v>0.0040068328573500895</c:v>
                </c:pt>
                <c:pt idx="67">
                  <c:v>0.003821116261987065</c:v>
                </c:pt>
                <c:pt idx="68">
                  <c:v>0.0038171471851744733</c:v>
                </c:pt>
                <c:pt idx="69">
                  <c:v>0.0035267846466540973</c:v>
                </c:pt>
                <c:pt idx="70">
                  <c:v>0.0034623934022992918</c:v>
                </c:pt>
                <c:pt idx="71">
                  <c:v>0.0034545355535554215</c:v>
                </c:pt>
                <c:pt idx="72">
                  <c:v>0.0032697887951048223</c:v>
                </c:pt>
                <c:pt idx="73">
                  <c:v>0.0029060852164247302</c:v>
                </c:pt>
                <c:pt idx="74">
                  <c:v>0.002801732681322638</c:v>
                </c:pt>
                <c:pt idx="75">
                  <c:v>0.00263191058021752</c:v>
                </c:pt>
                <c:pt idx="76">
                  <c:v>0.002425955681009842</c:v>
                </c:pt>
                <c:pt idx="77">
                  <c:v>0.0024206955013086305</c:v>
                </c:pt>
                <c:pt idx="78">
                  <c:v>0.0018806987165425186</c:v>
                </c:pt>
                <c:pt idx="79">
                  <c:v>0.0018756391721928048</c:v>
                </c:pt>
                <c:pt idx="80">
                  <c:v>0.001171812082025486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006C6D"/>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Serum FPS50 1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924831611532</c:v>
                </c:pt>
                <c:pt idx="1">
                  <c:v>0.039889162272347935</c:v>
                </c:pt>
                <c:pt idx="2">
                  <c:v>0.038585425641059067</c:v>
                </c:pt>
                <c:pt idx="3">
                  <c:v>0.036180236989656805</c:v>
                </c:pt>
                <c:pt idx="4">
                  <c:v>0.034150947877415495</c:v>
                </c:pt>
                <c:pt idx="5">
                  <c:v>0.030924314045753486</c:v>
                </c:pt>
                <c:pt idx="6">
                  <c:v>0.030644429740383842</c:v>
                </c:pt>
                <c:pt idx="7">
                  <c:v>0.028811545608544948</c:v>
                </c:pt>
                <c:pt idx="8">
                  <c:v>0.02792472366456885</c:v>
                </c:pt>
                <c:pt idx="9">
                  <c:v>0.026283600008439947</c:v>
                </c:pt>
                <c:pt idx="10">
                  <c:v>0.02487979446929909</c:v>
                </c:pt>
                <c:pt idx="11">
                  <c:v>0.02302033741563483</c:v>
                </c:pt>
                <c:pt idx="12">
                  <c:v>0.022795131574603073</c:v>
                </c:pt>
                <c:pt idx="13">
                  <c:v>0.021008151572635407</c:v>
                </c:pt>
                <c:pt idx="14">
                  <c:v>0.019525577498199193</c:v>
                </c:pt>
                <c:pt idx="15">
                  <c:v>0.019040015722383157</c:v>
                </c:pt>
                <c:pt idx="16">
                  <c:v>0.018954864609286807</c:v>
                </c:pt>
                <c:pt idx="17">
                  <c:v>0.018266791216206814</c:v>
                </c:pt>
                <c:pt idx="18">
                  <c:v>0.018052961918951275</c:v>
                </c:pt>
                <c:pt idx="19">
                  <c:v>0.01651724006568096</c:v>
                </c:pt>
                <c:pt idx="20">
                  <c:v>0.016225822985410737</c:v>
                </c:pt>
                <c:pt idx="21">
                  <c:v>0.015700628715786463</c:v>
                </c:pt>
                <c:pt idx="22">
                  <c:v>0.013742232599130162</c:v>
                </c:pt>
                <c:pt idx="23">
                  <c:v>0.01352738007699654</c:v>
                </c:pt>
                <c:pt idx="24">
                  <c:v>0.01309062743812099</c:v>
                </c:pt>
                <c:pt idx="25">
                  <c:v>0.012756807974575964</c:v>
                </c:pt>
                <c:pt idx="26">
                  <c:v>0.012576013488393585</c:v>
                </c:pt>
                <c:pt idx="27">
                  <c:v>0.012530075302872184</c:v>
                </c:pt>
                <c:pt idx="28">
                  <c:v>0.012121868980161847</c:v>
                </c:pt>
                <c:pt idx="29">
                  <c:v>0.011318707419896368</c:v>
                </c:pt>
                <c:pt idx="30">
                  <c:v>0.011311692446993458</c:v>
                </c:pt>
                <c:pt idx="31">
                  <c:v>0.010897746013185135</c:v>
                </c:pt>
                <c:pt idx="32">
                  <c:v>0.010549560108138619</c:v>
                </c:pt>
                <c:pt idx="33">
                  <c:v>0.010336041498698403</c:v>
                </c:pt>
                <c:pt idx="34">
                  <c:v>0.010171623340835545</c:v>
                </c:pt>
                <c:pt idx="35">
                  <c:v>0.009920492104221183</c:v>
                </c:pt>
                <c:pt idx="36">
                  <c:v>0.009794409724846262</c:v>
                </c:pt>
                <c:pt idx="37">
                  <c:v>0.009213085657312641</c:v>
                </c:pt>
                <c:pt idx="38">
                  <c:v>0.009186808740336542</c:v>
                </c:pt>
                <c:pt idx="39">
                  <c:v>0.008849854421944041</c:v>
                </c:pt>
                <c:pt idx="40">
                  <c:v>0.008722861356314539</c:v>
                </c:pt>
                <c:pt idx="41">
                  <c:v>0.008443308849329334</c:v>
                </c:pt>
                <c:pt idx="42">
                  <c:v>0.00828835188288922</c:v>
                </c:pt>
                <c:pt idx="43">
                  <c:v>0.008034615579033575</c:v>
                </c:pt>
                <c:pt idx="44">
                  <c:v>0.00792116845241034</c:v>
                </c:pt>
                <c:pt idx="45">
                  <c:v>0.0077321182541142995</c:v>
                </c:pt>
                <c:pt idx="46">
                  <c:v>0.007511696283531819</c:v>
                </c:pt>
                <c:pt idx="47">
                  <c:v>0.007163497868755424</c:v>
                </c:pt>
                <c:pt idx="48">
                  <c:v>0.0069464896334941306</c:v>
                </c:pt>
                <c:pt idx="49">
                  <c:v>0.006863996533962131</c:v>
                </c:pt>
                <c:pt idx="50">
                  <c:v>0.0066554979782558555</c:v>
                </c:pt>
                <c:pt idx="51">
                  <c:v>0.00657928201315306</c:v>
                </c:pt>
                <c:pt idx="52">
                  <c:v>0.006320291985174004</c:v>
                </c:pt>
                <c:pt idx="53">
                  <c:v>0.006222192228147282</c:v>
                </c:pt>
                <c:pt idx="54">
                  <c:v>0.0059518578458846285</c:v>
                </c:pt>
                <c:pt idx="55">
                  <c:v>0.0058418541736511165</c:v>
                </c:pt>
                <c:pt idx="56">
                  <c:v>0.005278266605693407</c:v>
                </c:pt>
                <c:pt idx="57">
                  <c:v>0.004955195502883064</c:v>
                </c:pt>
                <c:pt idx="58">
                  <c:v>0.004950241144540259</c:v>
                </c:pt>
                <c:pt idx="59">
                  <c:v>0.004732951344101277</c:v>
                </c:pt>
                <c:pt idx="60">
                  <c:v>0.004695288786469403</c:v>
                </c:pt>
                <c:pt idx="61">
                  <c:v>0.004624931951341519</c:v>
                </c:pt>
                <c:pt idx="62">
                  <c:v>0.004558886925032301</c:v>
                </c:pt>
                <c:pt idx="63">
                  <c:v>0.004423069075760182</c:v>
                </c:pt>
                <c:pt idx="64">
                  <c:v>0.004370817722931646</c:v>
                </c:pt>
                <c:pt idx="65">
                  <c:v>0.004217391745955623</c:v>
                </c:pt>
                <c:pt idx="66">
                  <c:v>0.004006944543611571</c:v>
                </c:pt>
                <c:pt idx="67">
                  <c:v>0.003818671537786522</c:v>
                </c:pt>
                <c:pt idx="68">
                  <c:v>0.003812608631996508</c:v>
                </c:pt>
                <c:pt idx="69">
                  <c:v>0.0035237522852069342</c:v>
                </c:pt>
                <c:pt idx="70">
                  <c:v>0.0034532062092096603</c:v>
                </c:pt>
                <c:pt idx="71">
                  <c:v>0.0032694726704727314</c:v>
                </c:pt>
                <c:pt idx="72">
                  <c:v>0.003143896616502161</c:v>
                </c:pt>
                <c:pt idx="73">
                  <c:v>0.0029048600260837484</c:v>
                </c:pt>
                <c:pt idx="74">
                  <c:v>0.0027992489707725277</c:v>
                </c:pt>
                <c:pt idx="75">
                  <c:v>0.002631397508755834</c:v>
                </c:pt>
                <c:pt idx="76">
                  <c:v>0.0024219432413109705</c:v>
                </c:pt>
                <c:pt idx="77">
                  <c:v>0.00241825612946611</c:v>
                </c:pt>
                <c:pt idx="78">
                  <c:v>0.0018795995941781082</c:v>
                </c:pt>
                <c:pt idx="79">
                  <c:v>0.0018727524450278914</c:v>
                </c:pt>
                <c:pt idx="80">
                  <c:v>0.001171288601786918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006C6D"/>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Hawaiian Tropic Silk Hydration Lip balm FPS30 10g</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593913497726</c:v>
                </c:pt>
                <c:pt idx="1">
                  <c:v>0.03991015190828814</c:v>
                </c:pt>
                <c:pt idx="2">
                  <c:v>0.0385873496780039</c:v>
                </c:pt>
                <c:pt idx="3">
                  <c:v>0.03618491983347204</c:v>
                </c:pt>
                <c:pt idx="4">
                  <c:v>0.034175387760378866</c:v>
                </c:pt>
                <c:pt idx="5">
                  <c:v>0.03093623439687914</c:v>
                </c:pt>
                <c:pt idx="6">
                  <c:v>0.03067135927392628</c:v>
                </c:pt>
                <c:pt idx="7">
                  <c:v>0.028823662374363658</c:v>
                </c:pt>
                <c:pt idx="8">
                  <c:v>0.02793479812959877</c:v>
                </c:pt>
                <c:pt idx="9">
                  <c:v>0.026285024898272235</c:v>
                </c:pt>
                <c:pt idx="10">
                  <c:v>0.024896072564015062</c:v>
                </c:pt>
                <c:pt idx="11">
                  <c:v>0.02302886560838114</c:v>
                </c:pt>
                <c:pt idx="12">
                  <c:v>0.022812574927056177</c:v>
                </c:pt>
                <c:pt idx="13">
                  <c:v>0.021008349226955207</c:v>
                </c:pt>
                <c:pt idx="14">
                  <c:v>0.019515208155746328</c:v>
                </c:pt>
                <c:pt idx="15">
                  <c:v>0.019057879371658655</c:v>
                </c:pt>
                <c:pt idx="16">
                  <c:v>0.01893702151990212</c:v>
                </c:pt>
                <c:pt idx="17">
                  <c:v>0.018267262612228132</c:v>
                </c:pt>
                <c:pt idx="18">
                  <c:v>0.018053296808465825</c:v>
                </c:pt>
                <c:pt idx="19">
                  <c:v>0.016512484397941386</c:v>
                </c:pt>
                <c:pt idx="20">
                  <c:v>0.016227848724658846</c:v>
                </c:pt>
                <c:pt idx="21">
                  <c:v>0.015700703742469558</c:v>
                </c:pt>
                <c:pt idx="22">
                  <c:v>0.013747087373995017</c:v>
                </c:pt>
                <c:pt idx="23">
                  <c:v>0.013531438626535337</c:v>
                </c:pt>
                <c:pt idx="24">
                  <c:v>0.013072396358570992</c:v>
                </c:pt>
                <c:pt idx="25">
                  <c:v>0.012738510915262713</c:v>
                </c:pt>
                <c:pt idx="26">
                  <c:v>0.012572176891990266</c:v>
                </c:pt>
                <c:pt idx="27">
                  <c:v>0.012518106161412459</c:v>
                </c:pt>
                <c:pt idx="28">
                  <c:v>0.012150797508350776</c:v>
                </c:pt>
                <c:pt idx="29">
                  <c:v>0.011329144271580638</c:v>
                </c:pt>
                <c:pt idx="30">
                  <c:v>0.011302976709888824</c:v>
                </c:pt>
                <c:pt idx="31">
                  <c:v>0.010880336751009821</c:v>
                </c:pt>
                <c:pt idx="32">
                  <c:v>0.010536486119847366</c:v>
                </c:pt>
                <c:pt idx="33">
                  <c:v>0.010345836895186051</c:v>
                </c:pt>
                <c:pt idx="34">
                  <c:v>0.010164220732013703</c:v>
                </c:pt>
                <c:pt idx="35">
                  <c:v>0.009924424923106476</c:v>
                </c:pt>
                <c:pt idx="36">
                  <c:v>0.009812113030319402</c:v>
                </c:pt>
                <c:pt idx="37">
                  <c:v>0.009211546779897075</c:v>
                </c:pt>
                <c:pt idx="38">
                  <c:v>0.009176585712480277</c:v>
                </c:pt>
                <c:pt idx="39">
                  <c:v>0.008828685290496317</c:v>
                </c:pt>
                <c:pt idx="40">
                  <c:v>0.008717423214903163</c:v>
                </c:pt>
                <c:pt idx="41">
                  <c:v>0.00842736683853181</c:v>
                </c:pt>
                <c:pt idx="42">
                  <c:v>0.008284381290318998</c:v>
                </c:pt>
                <c:pt idx="43">
                  <c:v>0.008042916879288788</c:v>
                </c:pt>
                <c:pt idx="44">
                  <c:v>0.007908402219892587</c:v>
                </c:pt>
                <c:pt idx="45">
                  <c:v>0.00771983423119894</c:v>
                </c:pt>
                <c:pt idx="46">
                  <c:v>0.007515106004175576</c:v>
                </c:pt>
                <c:pt idx="47">
                  <c:v>0.007168217388772664</c:v>
                </c:pt>
                <c:pt idx="48">
                  <c:v>0.006940048050286038</c:v>
                </c:pt>
                <c:pt idx="49">
                  <c:v>0.00687528033070665</c:v>
                </c:pt>
                <c:pt idx="50">
                  <c:v>0.006665023624792418</c:v>
                </c:pt>
                <c:pt idx="51">
                  <c:v>0.006566375126985436</c:v>
                </c:pt>
                <c:pt idx="52">
                  <c:v>0.006323974108613525</c:v>
                </c:pt>
                <c:pt idx="53">
                  <c:v>0.006222830573690274</c:v>
                </c:pt>
                <c:pt idx="54">
                  <c:v>0.005942824773539297</c:v>
                </c:pt>
                <c:pt idx="55">
                  <c:v>0.0058316141902899216</c:v>
                </c:pt>
                <c:pt idx="56">
                  <c:v>0.005280273634630193</c:v>
                </c:pt>
                <c:pt idx="57">
                  <c:v>0.004961645049205428</c:v>
                </c:pt>
                <c:pt idx="58">
                  <c:v>0.00495817463569707</c:v>
                </c:pt>
                <c:pt idx="59">
                  <c:v>0.004734649030498326</c:v>
                </c:pt>
                <c:pt idx="60">
                  <c:v>0.004700668995280133</c:v>
                </c:pt>
                <c:pt idx="61">
                  <c:v>0.004619894736235861</c:v>
                </c:pt>
                <c:pt idx="62">
                  <c:v>0.00454927976604195</c:v>
                </c:pt>
                <c:pt idx="63">
                  <c:v>0.004423609862681372</c:v>
                </c:pt>
                <c:pt idx="64">
                  <c:v>0.004371749968313647</c:v>
                </c:pt>
                <c:pt idx="65">
                  <c:v>0.004214491313359439</c:v>
                </c:pt>
                <c:pt idx="66">
                  <c:v>0.004010218230059772</c:v>
                </c:pt>
                <c:pt idx="67">
                  <c:v>0.0038210360419423505</c:v>
                </c:pt>
                <c:pt idx="68">
                  <c:v>0.0038105520275844356</c:v>
                </c:pt>
                <c:pt idx="69">
                  <c:v>0.003518678511052926</c:v>
                </c:pt>
                <c:pt idx="70">
                  <c:v>0.0034523361546463785</c:v>
                </c:pt>
                <c:pt idx="71">
                  <c:v>0.0032672739613914567</c:v>
                </c:pt>
                <c:pt idx="72">
                  <c:v>0.0030959369506092967</c:v>
                </c:pt>
                <c:pt idx="73">
                  <c:v>0.0029041593596867564</c:v>
                </c:pt>
                <c:pt idx="74">
                  <c:v>0.0027955017951400646</c:v>
                </c:pt>
                <c:pt idx="75">
                  <c:v>0.002628868392989089</c:v>
                </c:pt>
                <c:pt idx="76">
                  <c:v>0.002418547314571505</c:v>
                </c:pt>
                <c:pt idx="77">
                  <c:v>0.0024183636224432477</c:v>
                </c:pt>
                <c:pt idx="78">
                  <c:v>0.0018725609753641565</c:v>
                </c:pt>
                <c:pt idx="79">
                  <c:v>0.001865204810780922</c:v>
                </c:pt>
                <c:pt idx="80">
                  <c:v>0.00116943991422606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006C6D"/>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Silk Hydration Glow Mist FPS50+ 10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384616541613</c:v>
                </c:pt>
                <c:pt idx="1">
                  <c:v>0.03993749705856469</c:v>
                </c:pt>
                <c:pt idx="2">
                  <c:v>0.03860853698372989</c:v>
                </c:pt>
                <c:pt idx="3">
                  <c:v>0.036213364643029045</c:v>
                </c:pt>
                <c:pt idx="4">
                  <c:v>0.034184923736933076</c:v>
                </c:pt>
                <c:pt idx="5">
                  <c:v>0.030968881655142787</c:v>
                </c:pt>
                <c:pt idx="6">
                  <c:v>0.030682434225770924</c:v>
                </c:pt>
                <c:pt idx="7">
                  <c:v>0.02884207519705078</c:v>
                </c:pt>
                <c:pt idx="8">
                  <c:v>0.027949584800370995</c:v>
                </c:pt>
                <c:pt idx="9">
                  <c:v>0.026308146420296764</c:v>
                </c:pt>
                <c:pt idx="10">
                  <c:v>0.024920636236771335</c:v>
                </c:pt>
                <c:pt idx="11">
                  <c:v>0.02304583053855668</c:v>
                </c:pt>
                <c:pt idx="12">
                  <c:v>0.022819723099850964</c:v>
                </c:pt>
                <c:pt idx="13">
                  <c:v>0.021021220144891092</c:v>
                </c:pt>
                <c:pt idx="14">
                  <c:v>0.019532557884626947</c:v>
                </c:pt>
                <c:pt idx="15">
                  <c:v>0.019062746368499077</c:v>
                </c:pt>
                <c:pt idx="16">
                  <c:v>0.018976333184318083</c:v>
                </c:pt>
                <c:pt idx="17">
                  <c:v>0.018285269144461415</c:v>
                </c:pt>
                <c:pt idx="18">
                  <c:v>0.018075636031711164</c:v>
                </c:pt>
                <c:pt idx="19">
                  <c:v>0.01653280661901105</c:v>
                </c:pt>
                <c:pt idx="20">
                  <c:v>0.0162503685032433</c:v>
                </c:pt>
                <c:pt idx="21">
                  <c:v>0.015711769225476707</c:v>
                </c:pt>
                <c:pt idx="22">
                  <c:v>0.013757310076818774</c:v>
                </c:pt>
                <c:pt idx="23">
                  <c:v>0.013548438218702052</c:v>
                </c:pt>
                <c:pt idx="24">
                  <c:v>0.013094583401454413</c:v>
                </c:pt>
                <c:pt idx="25">
                  <c:v>0.012765855638304471</c:v>
                </c:pt>
                <c:pt idx="26">
                  <c:v>0.012597735378442037</c:v>
                </c:pt>
                <c:pt idx="27">
                  <c:v>0.012536134272035414</c:v>
                </c:pt>
                <c:pt idx="28">
                  <c:v>0.012153356581962631</c:v>
                </c:pt>
                <c:pt idx="29">
                  <c:v>0.011330826185105863</c:v>
                </c:pt>
                <c:pt idx="30">
                  <c:v>0.011315829094607316</c:v>
                </c:pt>
                <c:pt idx="31">
                  <c:v>0.01090222569669997</c:v>
                </c:pt>
                <c:pt idx="32">
                  <c:v>0.010559464876550316</c:v>
                </c:pt>
                <c:pt idx="33">
                  <c:v>0.010346229649686556</c:v>
                </c:pt>
                <c:pt idx="34">
                  <c:v>0.010181852863110796</c:v>
                </c:pt>
                <c:pt idx="35">
                  <c:v>0.009935292620451255</c:v>
                </c:pt>
                <c:pt idx="36">
                  <c:v>0.00981674925449182</c:v>
                </c:pt>
                <c:pt idx="37">
                  <c:v>0.009222092314256171</c:v>
                </c:pt>
                <c:pt idx="38">
                  <c:v>0.009196687909670043</c:v>
                </c:pt>
                <c:pt idx="39">
                  <c:v>0.008847440480563188</c:v>
                </c:pt>
                <c:pt idx="40">
                  <c:v>0.008731575755532385</c:v>
                </c:pt>
                <c:pt idx="41">
                  <c:v>0.008444372647090845</c:v>
                </c:pt>
                <c:pt idx="42">
                  <c:v>0.00829930268447996</c:v>
                </c:pt>
                <c:pt idx="43">
                  <c:v>0.00804864963559395</c:v>
                </c:pt>
                <c:pt idx="44">
                  <c:v>0.007929478560384746</c:v>
                </c:pt>
                <c:pt idx="45">
                  <c:v>0.007739991890107183</c:v>
                </c:pt>
                <c:pt idx="46">
                  <c:v>0.007520935753276971</c:v>
                </c:pt>
                <c:pt idx="47">
                  <c:v>0.007173945599148814</c:v>
                </c:pt>
                <c:pt idx="48">
                  <c:v>0.006949972424034978</c:v>
                </c:pt>
                <c:pt idx="49">
                  <c:v>0.00687129786522406</c:v>
                </c:pt>
                <c:pt idx="50">
                  <c:v>0.006668342605660042</c:v>
                </c:pt>
                <c:pt idx="51">
                  <c:v>0.006586147074221493</c:v>
                </c:pt>
                <c:pt idx="52">
                  <c:v>0.006329409112770406</c:v>
                </c:pt>
                <c:pt idx="53">
                  <c:v>0.006229590186622738</c:v>
                </c:pt>
                <c:pt idx="54">
                  <c:v>0.005959587968054197</c:v>
                </c:pt>
                <c:pt idx="55">
                  <c:v>0.0058468436313985905</c:v>
                </c:pt>
                <c:pt idx="56">
                  <c:v>0.005285065648928512</c:v>
                </c:pt>
                <c:pt idx="57">
                  <c:v>0.0049597715267921125</c:v>
                </c:pt>
                <c:pt idx="58">
                  <c:v>0.00495851675370253</c:v>
                </c:pt>
                <c:pt idx="59">
                  <c:v>0.004740272017606532</c:v>
                </c:pt>
                <c:pt idx="60">
                  <c:v>0.004701437197088062</c:v>
                </c:pt>
                <c:pt idx="61">
                  <c:v>0.004625412342679605</c:v>
                </c:pt>
                <c:pt idx="62">
                  <c:v>0.004559468588013035</c:v>
                </c:pt>
                <c:pt idx="63">
                  <c:v>0.004421999880561076</c:v>
                </c:pt>
                <c:pt idx="64">
                  <c:v>0.004376413006486116</c:v>
                </c:pt>
                <c:pt idx="65">
                  <c:v>0.004221698758504679</c:v>
                </c:pt>
                <c:pt idx="66">
                  <c:v>0.00401313465693315</c:v>
                </c:pt>
                <c:pt idx="67">
                  <c:v>0.00382454318117686</c:v>
                </c:pt>
                <c:pt idx="68">
                  <c:v>0.0038169175360292973</c:v>
                </c:pt>
                <c:pt idx="69">
                  <c:v>0.003522874174025087</c:v>
                </c:pt>
                <c:pt idx="70">
                  <c:v>0.0034575149382632814</c:v>
                </c:pt>
                <c:pt idx="71">
                  <c:v>0.0032737629534797213</c:v>
                </c:pt>
                <c:pt idx="72">
                  <c:v>0.0029091466968051605</c:v>
                </c:pt>
                <c:pt idx="73">
                  <c:v>0.002800719720312991</c:v>
                </c:pt>
                <c:pt idx="74">
                  <c:v>0.0026344362841850457</c:v>
                </c:pt>
                <c:pt idx="75">
                  <c:v>0.002423487816209952</c:v>
                </c:pt>
                <c:pt idx="76">
                  <c:v>0.002421782902256837</c:v>
                </c:pt>
                <c:pt idx="77">
                  <c:v>0.0021051262570366534</c:v>
                </c:pt>
                <c:pt idx="78">
                  <c:v>0.0018792354366024436</c:v>
                </c:pt>
                <c:pt idx="79">
                  <c:v>0.001872916491674177</c:v>
                </c:pt>
                <c:pt idx="80">
                  <c:v>0.001172609460409685</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Banana Boat Aqua Protect Sport Spray FPS50+ 24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36223230230306</c:v>
                </c:pt>
                <c:pt idx="1">
                  <c:v>0.03966271367356459</c:v>
                </c:pt>
                <c:pt idx="2">
                  <c:v>0.03836174293815978</c:v>
                </c:pt>
                <c:pt idx="3">
                  <c:v>0.03607233436651456</c:v>
                </c:pt>
                <c:pt idx="4">
                  <c:v>0.034013809241980546</c:v>
                </c:pt>
                <c:pt idx="5">
                  <c:v>0.030872540497704756</c:v>
                </c:pt>
                <c:pt idx="6">
                  <c:v>0.030539736863509075</c:v>
                </c:pt>
                <c:pt idx="7">
                  <c:v>0.028715717616526144</c:v>
                </c:pt>
                <c:pt idx="8">
                  <c:v>0.027767636249266498</c:v>
                </c:pt>
                <c:pt idx="9">
                  <c:v>0.026240694447655158</c:v>
                </c:pt>
                <c:pt idx="10">
                  <c:v>0.024872263748717403</c:v>
                </c:pt>
                <c:pt idx="11">
                  <c:v>0.02293276475818955</c:v>
                </c:pt>
                <c:pt idx="12">
                  <c:v>0.022573090821618305</c:v>
                </c:pt>
                <c:pt idx="13">
                  <c:v>0.020834246007254763</c:v>
                </c:pt>
                <c:pt idx="14">
                  <c:v>0.019447582905170676</c:v>
                </c:pt>
                <c:pt idx="15">
                  <c:v>0.018987874326984407</c:v>
                </c:pt>
                <c:pt idx="16">
                  <c:v>0.01894073010596945</c:v>
                </c:pt>
                <c:pt idx="17">
                  <c:v>0.018147981155954222</c:v>
                </c:pt>
                <c:pt idx="18">
                  <c:v>0.018017696279230565</c:v>
                </c:pt>
                <c:pt idx="19">
                  <c:v>0.01644770476537804</c:v>
                </c:pt>
                <c:pt idx="20">
                  <c:v>0.016220499108284315</c:v>
                </c:pt>
                <c:pt idx="21">
                  <c:v>0.015569382063101598</c:v>
                </c:pt>
                <c:pt idx="22">
                  <c:v>0.013676086106001092</c:v>
                </c:pt>
                <c:pt idx="23">
                  <c:v>0.013471504046730616</c:v>
                </c:pt>
                <c:pt idx="24">
                  <c:v>0.01306860050416828</c:v>
                </c:pt>
                <c:pt idx="25">
                  <c:v>0.012724309590591565</c:v>
                </c:pt>
                <c:pt idx="26">
                  <c:v>0.012550849118430438</c:v>
                </c:pt>
                <c:pt idx="27">
                  <c:v>0.012502400437922232</c:v>
                </c:pt>
                <c:pt idx="28">
                  <c:v>0.012125100005810996</c:v>
                </c:pt>
                <c:pt idx="29">
                  <c:v>0.011288148897400077</c:v>
                </c:pt>
                <c:pt idx="30">
                  <c:v>0.011125429691021947</c:v>
                </c:pt>
                <c:pt idx="31">
                  <c:v>0.010878345106686739</c:v>
                </c:pt>
                <c:pt idx="32">
                  <c:v>0.010520933315452398</c:v>
                </c:pt>
                <c:pt idx="33">
                  <c:v>0.01032764612232844</c:v>
                </c:pt>
                <c:pt idx="34">
                  <c:v>0.0101585967598985</c:v>
                </c:pt>
                <c:pt idx="35">
                  <c:v>0.009880067826714037</c:v>
                </c:pt>
                <c:pt idx="36">
                  <c:v>0.009790159025647383</c:v>
                </c:pt>
                <c:pt idx="37">
                  <c:v>0.009187718142691823</c:v>
                </c:pt>
                <c:pt idx="38">
                  <c:v>0.00916793830440145</c:v>
                </c:pt>
                <c:pt idx="39">
                  <c:v>0.008828540768048265</c:v>
                </c:pt>
                <c:pt idx="40">
                  <c:v>0.008711987628432666</c:v>
                </c:pt>
                <c:pt idx="41">
                  <c:v>0.008408504200300438</c:v>
                </c:pt>
                <c:pt idx="42">
                  <c:v>0.00826938420099167</c:v>
                </c:pt>
                <c:pt idx="43">
                  <c:v>0.007956923355079993</c:v>
                </c:pt>
                <c:pt idx="44">
                  <c:v>0.007917231731128337</c:v>
                </c:pt>
                <c:pt idx="45">
                  <c:v>0.007731532009720283</c:v>
                </c:pt>
                <c:pt idx="46">
                  <c:v>0.007416858302306601</c:v>
                </c:pt>
                <c:pt idx="47">
                  <c:v>0.007155193651431247</c:v>
                </c:pt>
                <c:pt idx="48">
                  <c:v>0.007146397093206067</c:v>
                </c:pt>
                <c:pt idx="49">
                  <c:v>0.006922890814835996</c:v>
                </c:pt>
                <c:pt idx="50">
                  <c:v>0.006849362224149646</c:v>
                </c:pt>
                <c:pt idx="51">
                  <c:v>0.006599584957366673</c:v>
                </c:pt>
                <c:pt idx="52">
                  <c:v>0.0065740730509928754</c:v>
                </c:pt>
                <c:pt idx="53">
                  <c:v>0.006229254575907222</c:v>
                </c:pt>
                <c:pt idx="54">
                  <c:v>0.006199356016977685</c:v>
                </c:pt>
                <c:pt idx="55">
                  <c:v>0.005944126826930822</c:v>
                </c:pt>
                <c:pt idx="56">
                  <c:v>0.005838308997666331</c:v>
                </c:pt>
                <c:pt idx="57">
                  <c:v>0.005240712885591001</c:v>
                </c:pt>
                <c:pt idx="58">
                  <c:v>0.004931436323782791</c:v>
                </c:pt>
                <c:pt idx="59">
                  <c:v>0.004924212260352821</c:v>
                </c:pt>
                <c:pt idx="60">
                  <c:v>0.004668442665394282</c:v>
                </c:pt>
                <c:pt idx="61">
                  <c:v>0.0046283362431988485</c:v>
                </c:pt>
                <c:pt idx="62">
                  <c:v>0.004613568665470049</c:v>
                </c:pt>
                <c:pt idx="63">
                  <c:v>0.004540728711251027</c:v>
                </c:pt>
                <c:pt idx="64">
                  <c:v>0.004403293016210666</c:v>
                </c:pt>
                <c:pt idx="65">
                  <c:v>0.004331702089969023</c:v>
                </c:pt>
                <c:pt idx="66">
                  <c:v>0.004201387974998573</c:v>
                </c:pt>
                <c:pt idx="67">
                  <c:v>0.0039635455804163935</c:v>
                </c:pt>
                <c:pt idx="68">
                  <c:v>0.0038082137550603306</c:v>
                </c:pt>
                <c:pt idx="69">
                  <c:v>0.0037862584723725662</c:v>
                </c:pt>
                <c:pt idx="70">
                  <c:v>0.003520284145870123</c:v>
                </c:pt>
                <c:pt idx="71">
                  <c:v>0.003430873421376813</c:v>
                </c:pt>
                <c:pt idx="72">
                  <c:v>0.003238118517607054</c:v>
                </c:pt>
                <c:pt idx="73">
                  <c:v>0.00289426182481302</c:v>
                </c:pt>
                <c:pt idx="74">
                  <c:v>0.0027879423092293546</c:v>
                </c:pt>
                <c:pt idx="75">
                  <c:v>0.002619467103006623</c:v>
                </c:pt>
                <c:pt idx="76">
                  <c:v>0.002413707543849104</c:v>
                </c:pt>
                <c:pt idx="77">
                  <c:v>0.002397423644527952</c:v>
                </c:pt>
                <c:pt idx="78">
                  <c:v>0.0018758951833924044</c:v>
                </c:pt>
                <c:pt idx="79">
                  <c:v>0.0018678442428472792</c:v>
                </c:pt>
                <c:pt idx="80">
                  <c:v>0.001168025769004043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qua Protect Sport Spray FPS50+ 170g</c:v>
                </c:pt>
                <c:pt idx="60">
                  <c:v>Banana Boat Advanced Protection Sport Roll-on FPS50+ 75ml</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Banana Boat Dry Balance Sport Stick FPS50+ 40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5557120593744</c:v>
                </c:pt>
                <c:pt idx="1">
                  <c:v>0.039904839583005385</c:v>
                </c:pt>
                <c:pt idx="2">
                  <c:v>0.03861650777804344</c:v>
                </c:pt>
                <c:pt idx="3">
                  <c:v>0.03621659987396859</c:v>
                </c:pt>
                <c:pt idx="4">
                  <c:v>0.03420311310303885</c:v>
                </c:pt>
                <c:pt idx="5">
                  <c:v>0.03097071139704724</c:v>
                </c:pt>
                <c:pt idx="6">
                  <c:v>0.030708113325975377</c:v>
                </c:pt>
                <c:pt idx="7">
                  <c:v>0.02884774420436485</c:v>
                </c:pt>
                <c:pt idx="8">
                  <c:v>0.02796384816735255</c:v>
                </c:pt>
                <c:pt idx="9">
                  <c:v>0.026317377312696164</c:v>
                </c:pt>
                <c:pt idx="10">
                  <c:v>0.024915905077840247</c:v>
                </c:pt>
                <c:pt idx="11">
                  <c:v>0.02304110303319326</c:v>
                </c:pt>
                <c:pt idx="12">
                  <c:v>0.022799193253250978</c:v>
                </c:pt>
                <c:pt idx="13">
                  <c:v>0.02101720313246041</c:v>
                </c:pt>
                <c:pt idx="14">
                  <c:v>0.01953308164087714</c:v>
                </c:pt>
                <c:pt idx="15">
                  <c:v>0.019072513774179012</c:v>
                </c:pt>
                <c:pt idx="16">
                  <c:v>0.018981053659303363</c:v>
                </c:pt>
                <c:pt idx="17">
                  <c:v>0.018265271922368414</c:v>
                </c:pt>
                <c:pt idx="18">
                  <c:v>0.01808300373847985</c:v>
                </c:pt>
                <c:pt idx="19">
                  <c:v>0.016535888399406392</c:v>
                </c:pt>
                <c:pt idx="20">
                  <c:v>0.01625574208539993</c:v>
                </c:pt>
                <c:pt idx="21">
                  <c:v>0.01570285286995226</c:v>
                </c:pt>
                <c:pt idx="22">
                  <c:v>0.013753956508551764</c:v>
                </c:pt>
                <c:pt idx="23">
                  <c:v>0.013546049814052392</c:v>
                </c:pt>
                <c:pt idx="24">
                  <c:v>0.013110332965049975</c:v>
                </c:pt>
                <c:pt idx="25">
                  <c:v>0.012766874367818724</c:v>
                </c:pt>
                <c:pt idx="26">
                  <c:v>0.0125880356273269</c:v>
                </c:pt>
                <c:pt idx="27">
                  <c:v>0.012539641633346334</c:v>
                </c:pt>
                <c:pt idx="28">
                  <c:v>0.01217030859663079</c:v>
                </c:pt>
                <c:pt idx="29">
                  <c:v>0.011319109028088786</c:v>
                </c:pt>
                <c:pt idx="30">
                  <c:v>0.011293223756372945</c:v>
                </c:pt>
                <c:pt idx="31">
                  <c:v>0.010914754971680844</c:v>
                </c:pt>
                <c:pt idx="32">
                  <c:v>0.010569061964881676</c:v>
                </c:pt>
                <c:pt idx="33">
                  <c:v>0.010365651986564091</c:v>
                </c:pt>
                <c:pt idx="34">
                  <c:v>0.010185968239828015</c:v>
                </c:pt>
                <c:pt idx="35">
                  <c:v>0.009931343709329712</c:v>
                </c:pt>
                <c:pt idx="36">
                  <c:v>0.009830630014606812</c:v>
                </c:pt>
                <c:pt idx="37">
                  <c:v>0.009222976014585257</c:v>
                </c:pt>
                <c:pt idx="38">
                  <c:v>0.009206217678084798</c:v>
                </c:pt>
                <c:pt idx="39">
                  <c:v>0.008862441431690493</c:v>
                </c:pt>
                <c:pt idx="40">
                  <c:v>0.008733461484615485</c:v>
                </c:pt>
                <c:pt idx="41">
                  <c:v>0.00845120696631598</c:v>
                </c:pt>
                <c:pt idx="42">
                  <c:v>0.008291286229484515</c:v>
                </c:pt>
                <c:pt idx="43">
                  <c:v>0.008036430738940281</c:v>
                </c:pt>
                <c:pt idx="44">
                  <c:v>0.007932183721881043</c:v>
                </c:pt>
                <c:pt idx="45">
                  <c:v>0.007747749018424222</c:v>
                </c:pt>
                <c:pt idx="46">
                  <c:v>0.007514230153907856</c:v>
                </c:pt>
                <c:pt idx="47">
                  <c:v>0.007172319971484394</c:v>
                </c:pt>
                <c:pt idx="48">
                  <c:v>0.00695411993105839</c:v>
                </c:pt>
                <c:pt idx="49">
                  <c:v>0.006884784557170489</c:v>
                </c:pt>
                <c:pt idx="50">
                  <c:v>0.006659655808817167</c:v>
                </c:pt>
                <c:pt idx="51">
                  <c:v>0.006594573302895677</c:v>
                </c:pt>
                <c:pt idx="52">
                  <c:v>0.006315525765691442</c:v>
                </c:pt>
                <c:pt idx="53">
                  <c:v>0.006233737943615573</c:v>
                </c:pt>
                <c:pt idx="54">
                  <c:v>0.005963443132148153</c:v>
                </c:pt>
                <c:pt idx="55">
                  <c:v>0.005854175190291278</c:v>
                </c:pt>
                <c:pt idx="56">
                  <c:v>0.005286737600158471</c:v>
                </c:pt>
                <c:pt idx="57">
                  <c:v>0.004962335838764794</c:v>
                </c:pt>
                <c:pt idx="58">
                  <c:v>0.004962280773195278</c:v>
                </c:pt>
                <c:pt idx="59">
                  <c:v>0.004691456330735171</c:v>
                </c:pt>
                <c:pt idx="60">
                  <c:v>0.004689034217623958</c:v>
                </c:pt>
                <c:pt idx="61">
                  <c:v>0.004625764676512481</c:v>
                </c:pt>
                <c:pt idx="62">
                  <c:v>0.004557754599223631</c:v>
                </c:pt>
                <c:pt idx="63">
                  <c:v>0.00443218955236972</c:v>
                </c:pt>
                <c:pt idx="64">
                  <c:v>0.004374789621210012</c:v>
                </c:pt>
                <c:pt idx="65">
                  <c:v>0.004216162212324291</c:v>
                </c:pt>
                <c:pt idx="66">
                  <c:v>0.004006599606269263</c:v>
                </c:pt>
                <c:pt idx="67">
                  <c:v>0.003819561274326188</c:v>
                </c:pt>
                <c:pt idx="68">
                  <c:v>0.003813231503124339</c:v>
                </c:pt>
                <c:pt idx="69">
                  <c:v>0.0035305766087067683</c:v>
                </c:pt>
                <c:pt idx="70">
                  <c:v>0.0034551607483256056</c:v>
                </c:pt>
                <c:pt idx="71">
                  <c:v>0.0032711625205730454</c:v>
                </c:pt>
                <c:pt idx="72">
                  <c:v>0.002908229573757217</c:v>
                </c:pt>
                <c:pt idx="73">
                  <c:v>0.0028028538752970606</c:v>
                </c:pt>
                <c:pt idx="74">
                  <c:v>0.00263238178977023</c:v>
                </c:pt>
                <c:pt idx="75">
                  <c:v>0.002424904317175332</c:v>
                </c:pt>
                <c:pt idx="76">
                  <c:v>0.0024134284738650063</c:v>
                </c:pt>
                <c:pt idx="77">
                  <c:v>0.0020674150094883072</c:v>
                </c:pt>
                <c:pt idx="78">
                  <c:v>0.00188376850303119</c:v>
                </c:pt>
                <c:pt idx="79">
                  <c:v>0.0018760794133383491</c:v>
                </c:pt>
                <c:pt idx="80">
                  <c:v>0.00117344059746081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006C6D"/>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Argan Spray FPS15 220ml</c:v>
                </c:pt>
                <c:pt idx="58">
                  <c:v>Hawaiian Tropic Island Sport Spray FPS50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Banana Boat Dry Balance Sport Aerosol FPS50+ 200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651928112879</c:v>
                </c:pt>
                <c:pt idx="1">
                  <c:v>0.039847039739139174</c:v>
                </c:pt>
                <c:pt idx="2">
                  <c:v>0.038565093914451204</c:v>
                </c:pt>
                <c:pt idx="3">
                  <c:v>0.03617906005413418</c:v>
                </c:pt>
                <c:pt idx="4">
                  <c:v>0.034138711687364626</c:v>
                </c:pt>
                <c:pt idx="5">
                  <c:v>0.03095203204135775</c:v>
                </c:pt>
                <c:pt idx="6">
                  <c:v>0.030644884814399084</c:v>
                </c:pt>
                <c:pt idx="7">
                  <c:v>0.0288160272646939</c:v>
                </c:pt>
                <c:pt idx="8">
                  <c:v>0.027917753322502414</c:v>
                </c:pt>
                <c:pt idx="9">
                  <c:v>0.02630410667207728</c:v>
                </c:pt>
                <c:pt idx="10">
                  <c:v>0.02491035782213411</c:v>
                </c:pt>
                <c:pt idx="11">
                  <c:v>0.023001520404544826</c:v>
                </c:pt>
                <c:pt idx="12">
                  <c:v>0.02272261023766654</c:v>
                </c:pt>
                <c:pt idx="13">
                  <c:v>0.02097604080183576</c:v>
                </c:pt>
                <c:pt idx="14">
                  <c:v>0.019506785849114385</c:v>
                </c:pt>
                <c:pt idx="15">
                  <c:v>0.019041428383455055</c:v>
                </c:pt>
                <c:pt idx="16">
                  <c:v>0.01898563751230305</c:v>
                </c:pt>
                <c:pt idx="17">
                  <c:v>0.018250089895478036</c:v>
                </c:pt>
                <c:pt idx="18">
                  <c:v>0.018075775267695254</c:v>
                </c:pt>
                <c:pt idx="19">
                  <c:v>0.01652076674210825</c:v>
                </c:pt>
                <c:pt idx="20">
                  <c:v>0.016257993655310284</c:v>
                </c:pt>
                <c:pt idx="21">
                  <c:v>0.01567427252760442</c:v>
                </c:pt>
                <c:pt idx="22">
                  <c:v>0.01372843628487794</c:v>
                </c:pt>
                <c:pt idx="23">
                  <c:v>0.013540020009246966</c:v>
                </c:pt>
                <c:pt idx="24">
                  <c:v>0.013096007350138338</c:v>
                </c:pt>
                <c:pt idx="25">
                  <c:v>0.012769249456715724</c:v>
                </c:pt>
                <c:pt idx="26">
                  <c:v>0.012594677357595317</c:v>
                </c:pt>
                <c:pt idx="27">
                  <c:v>0.012528764045710988</c:v>
                </c:pt>
                <c:pt idx="28">
                  <c:v>0.012157474459066371</c:v>
                </c:pt>
                <c:pt idx="29">
                  <c:v>0.011307202969598038</c:v>
                </c:pt>
                <c:pt idx="30">
                  <c:v>0.011245952307283303</c:v>
                </c:pt>
                <c:pt idx="31">
                  <c:v>0.010908343007721248</c:v>
                </c:pt>
                <c:pt idx="32">
                  <c:v>0.010561406160165064</c:v>
                </c:pt>
                <c:pt idx="33">
                  <c:v>0.010349622210997736</c:v>
                </c:pt>
                <c:pt idx="34">
                  <c:v>0.010181662596797645</c:v>
                </c:pt>
                <c:pt idx="35">
                  <c:v>0.009924261208941158</c:v>
                </c:pt>
                <c:pt idx="36">
                  <c:v>0.009820024015319237</c:v>
                </c:pt>
                <c:pt idx="37">
                  <c:v>0.00921356250929488</c:v>
                </c:pt>
                <c:pt idx="38">
                  <c:v>0.009205375608120304</c:v>
                </c:pt>
                <c:pt idx="39">
                  <c:v>0.008854350314968522</c:v>
                </c:pt>
                <c:pt idx="40">
                  <c:v>0.008730277755007785</c:v>
                </c:pt>
                <c:pt idx="41">
                  <c:v>0.008444048899497965</c:v>
                </c:pt>
                <c:pt idx="42">
                  <c:v>0.008299006701824862</c:v>
                </c:pt>
                <c:pt idx="43">
                  <c:v>0.008020078601478457</c:v>
                </c:pt>
                <c:pt idx="44">
                  <c:v>0.007933024360472036</c:v>
                </c:pt>
                <c:pt idx="45">
                  <c:v>0.007748934663169891</c:v>
                </c:pt>
                <c:pt idx="46">
                  <c:v>0.007496084457864201</c:v>
                </c:pt>
                <c:pt idx="47">
                  <c:v>0.007168621388287503</c:v>
                </c:pt>
                <c:pt idx="48">
                  <c:v>0.006947356239820631</c:v>
                </c:pt>
                <c:pt idx="49">
                  <c:v>0.006868572669459441</c:v>
                </c:pt>
                <c:pt idx="50">
                  <c:v>0.006634675470529183</c:v>
                </c:pt>
                <c:pt idx="51">
                  <c:v>0.0065952735524189565</c:v>
                </c:pt>
                <c:pt idx="52">
                  <c:v>0.006300115134784906</c:v>
                </c:pt>
                <c:pt idx="53">
                  <c:v>0.006226876103163927</c:v>
                </c:pt>
                <c:pt idx="54">
                  <c:v>0.005961445408303207</c:v>
                </c:pt>
                <c:pt idx="55">
                  <c:v>0.005854095616395775</c:v>
                </c:pt>
                <c:pt idx="56">
                  <c:v>0.005274867080295825</c:v>
                </c:pt>
                <c:pt idx="57">
                  <c:v>0.004952913511775814</c:v>
                </c:pt>
                <c:pt idx="58">
                  <c:v>0.004948597969883341</c:v>
                </c:pt>
                <c:pt idx="59">
                  <c:v>0.004722074675552105</c:v>
                </c:pt>
                <c:pt idx="60">
                  <c:v>0.004658810389727335</c:v>
                </c:pt>
                <c:pt idx="61">
                  <c:v>0.004623379143124483</c:v>
                </c:pt>
                <c:pt idx="62">
                  <c:v>0.004557887069784541</c:v>
                </c:pt>
                <c:pt idx="63">
                  <c:v>0.004424650406851388</c:v>
                </c:pt>
                <c:pt idx="64">
                  <c:v>0.004365790155540136</c:v>
                </c:pt>
                <c:pt idx="65">
                  <c:v>0.004220603780184769</c:v>
                </c:pt>
                <c:pt idx="66">
                  <c:v>0.003995673459090119</c:v>
                </c:pt>
                <c:pt idx="67">
                  <c:v>0.0038187615802895776</c:v>
                </c:pt>
                <c:pt idx="68">
                  <c:v>0.0038125783784184004</c:v>
                </c:pt>
                <c:pt idx="69">
                  <c:v>0.0035277494754726827</c:v>
                </c:pt>
                <c:pt idx="70">
                  <c:v>0.0034540430444139577</c:v>
                </c:pt>
                <c:pt idx="71">
                  <c:v>0.00326874680419626</c:v>
                </c:pt>
                <c:pt idx="72">
                  <c:v>0.003186637580987215</c:v>
                </c:pt>
                <c:pt idx="73">
                  <c:v>0.0029072222984146815</c:v>
                </c:pt>
                <c:pt idx="74">
                  <c:v>0.0028016118990728026</c:v>
                </c:pt>
                <c:pt idx="75">
                  <c:v>0.0026325132400397576</c:v>
                </c:pt>
                <c:pt idx="76">
                  <c:v>0.002426055306109444</c:v>
                </c:pt>
                <c:pt idx="77">
                  <c:v>0.0024163737457175505</c:v>
                </c:pt>
                <c:pt idx="78">
                  <c:v>0.0018847104012258491</c:v>
                </c:pt>
                <c:pt idx="79">
                  <c:v>0.0018770366478506667</c:v>
                </c:pt>
                <c:pt idx="80">
                  <c:v>0.001172651640285866</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006C6D"/>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spPr>
              <a:solidFill>
                <a:srgbClr val="7ECAC4"/>
              </a:solidFill>
            </c:spPr>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7ECAC4"/>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Banana Boat Sport Lotion FPS50+ 354ml</c:v>
                </c:pt>
                <c:pt idx="6">
                  <c:v>Nivea Sun Protection &amp; Hydration Lotion FPS50+ 125ml</c:v>
                </c:pt>
                <c:pt idx="7">
                  <c:v>Hawaiian Tropic Ozono Lotion FPS50+ 240ml</c:v>
                </c:pt>
                <c:pt idx="8">
                  <c:v>Caribbean Beach Sport Cream FPS50+ 250g</c:v>
                </c:pt>
                <c:pt idx="9">
                  <c:v>Hawaiian Tropic Island Sport Lotion FPS50 240ml</c:v>
                </c:pt>
                <c:pt idx="10">
                  <c:v>Caribbean Beach Ultra Cream FPS50+ 250g</c:v>
                </c:pt>
                <c:pt idx="11">
                  <c:v>Nuvel Suncare Ultra Protection FPS50 120ml</c:v>
                </c:pt>
                <c:pt idx="12">
                  <c:v>Nivea Sun Protect &amp; Refresh Sport Invisible Spray FPS50 200ml</c:v>
                </c:pt>
                <c:pt idx="13">
                  <c:v>Banana Boat Aqua Protect Sport Lotion FPS50+ 236ml</c:v>
                </c:pt>
                <c:pt idx="14">
                  <c:v>Banana Boat Aqua Protect Cream FPS50+ 236ml</c:v>
                </c:pt>
                <c:pt idx="15">
                  <c:v>La Roche Posay Anthelios Uvmune 400 Fluid FPS50+ 50ml</c:v>
                </c:pt>
                <c:pt idx="16">
                  <c:v>Nuvel Suncare Mineral FPS50 120ml</c:v>
                </c:pt>
                <c:pt idx="17">
                  <c:v>Hawaiian Tropic Sheer Touch Lotion FPS30 240ml</c:v>
                </c:pt>
                <c:pt idx="18">
                  <c:v>Caribbean Beach Sport Cream FPS50+ 150g</c:v>
                </c:pt>
                <c:pt idx="19">
                  <c:v>Nivea Sun Protect &amp; Refresh Sport Spray FPS50 200ml</c:v>
                </c:pt>
                <c:pt idx="20">
                  <c:v>Nivea Sun Babies &amp; Kids Lotion FPS50+ 200ml</c:v>
                </c:pt>
                <c:pt idx="21">
                  <c:v>Caribbean Beach Advanced Protection Cream FPS50+ 150g</c:v>
                </c:pt>
                <c:pt idx="22">
                  <c:v>Banana Boat Aqua Protect Kids Cream FPS50+ 236ml</c:v>
                </c:pt>
                <c:pt idx="23">
                  <c:v>Nivea Sun Kids Protect &amp; Sensitive Spray FPS50+ 200ml</c:v>
                </c:pt>
                <c:pt idx="24">
                  <c:v>Caribbean Beach Kids Cream FPS50+ 250g</c:v>
                </c:pt>
                <c:pt idx="25">
                  <c:v>Neutrogena Sun Fresh Cream FPS50 200ml</c:v>
                </c:pt>
                <c:pt idx="26">
                  <c:v>Nuvel Suncare Kids Protection FPS50 120ml</c:v>
                </c:pt>
                <c:pt idx="27">
                  <c:v>Eucerin Gel-Cream FPS50+ 50ml</c:v>
                </c:pt>
                <c:pt idx="28">
                  <c:v>Nuvel Suncare 2 in 1 FPS50 120ml</c:v>
                </c:pt>
                <c:pt idx="29">
                  <c:v>Hawaiian Tropic Sheer Touch Lotion FPS50 120ml</c:v>
                </c:pt>
                <c:pt idx="30">
                  <c:v>La Roche Posay Anthelios XL Gel-Cream FPS50+ 50ml</c:v>
                </c:pt>
                <c:pt idx="31">
                  <c:v>Banana Boat Dry Balance Sport Spray FPS50 17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Garnier Super UV Serum FPS50+ 40ml</c:v>
                </c:pt>
                <c:pt idx="39">
                  <c:v>Equate Sport Lotion FPS30 237ml</c:v>
                </c:pt>
                <c:pt idx="40">
                  <c:v>Isdin Fotoprotector Fusion Water Magic Light FPS50+ 50ml</c:v>
                </c:pt>
                <c:pt idx="41">
                  <c:v>Nivea Sun Face Sensitive Skin FPS50 50ml</c:v>
                </c:pt>
                <c:pt idx="42">
                  <c:v>Isdin Fotoprotector Fusion Water FPS50+ 50ml</c:v>
                </c:pt>
                <c:pt idx="43">
                  <c:v>Caribbean Beach Kids Cream FPS50+ 150g</c:v>
                </c:pt>
                <c:pt idx="44">
                  <c:v>Nivea Sun Face Stain Control FPS50+ 40ml</c:v>
                </c:pt>
                <c:pt idx="45">
                  <c:v>Banana Boat Kids Sport Lotion FPS50 18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Banana Boat Aqua Protect Sport Spray FPS50+ 170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398924264630415</c:v>
                </c:pt>
                <c:pt idx="1">
                  <c:v>0.03874876431858327</c:v>
                </c:pt>
                <c:pt idx="2">
                  <c:v>0.03575644098913341</c:v>
                </c:pt>
                <c:pt idx="3">
                  <c:v>0.03529085952737983</c:v>
                </c:pt>
                <c:pt idx="4">
                  <c:v>0.03231437596500832</c:v>
                </c:pt>
                <c:pt idx="5">
                  <c:v>0.031944904622885496</c:v>
                </c:pt>
                <c:pt idx="6">
                  <c:v>0.030413426176993403</c:v>
                </c:pt>
                <c:pt idx="7">
                  <c:v>0.029202318773337326</c:v>
                </c:pt>
                <c:pt idx="8">
                  <c:v>0.02789585240647686</c:v>
                </c:pt>
                <c:pt idx="9">
                  <c:v>0.025799729573194718</c:v>
                </c:pt>
                <c:pt idx="10">
                  <c:v>0.025706854709069592</c:v>
                </c:pt>
                <c:pt idx="11">
                  <c:v>0.024705377596556756</c:v>
                </c:pt>
                <c:pt idx="12">
                  <c:v>0.022418259366978964</c:v>
                </c:pt>
                <c:pt idx="13">
                  <c:v>0.021742736695174198</c:v>
                </c:pt>
                <c:pt idx="14">
                  <c:v>0.019770852071223755</c:v>
                </c:pt>
                <c:pt idx="15">
                  <c:v>0.01929608370296782</c:v>
                </c:pt>
                <c:pt idx="16">
                  <c:v>0.01873287595559581</c:v>
                </c:pt>
                <c:pt idx="17">
                  <c:v>0.018286890279615723</c:v>
                </c:pt>
                <c:pt idx="18">
                  <c:v>0.01766455380789516</c:v>
                </c:pt>
                <c:pt idx="19">
                  <c:v>0.01760220051402047</c:v>
                </c:pt>
                <c:pt idx="20">
                  <c:v>0.016155705726254934</c:v>
                </c:pt>
                <c:pt idx="21">
                  <c:v>0.015991035957981684</c:v>
                </c:pt>
                <c:pt idx="22">
                  <c:v>0.014932119514645029</c:v>
                </c:pt>
                <c:pt idx="23">
                  <c:v>0.013420900950616665</c:v>
                </c:pt>
                <c:pt idx="24">
                  <c:v>0.01318370939447894</c:v>
                </c:pt>
                <c:pt idx="25">
                  <c:v>0.012804526174448586</c:v>
                </c:pt>
                <c:pt idx="26">
                  <c:v>0.01247146832324072</c:v>
                </c:pt>
                <c:pt idx="27">
                  <c:v>0.01244086075635146</c:v>
                </c:pt>
                <c:pt idx="28">
                  <c:v>0.012393214428760228</c:v>
                </c:pt>
                <c:pt idx="29">
                  <c:v>0.011898492213692585</c:v>
                </c:pt>
                <c:pt idx="30">
                  <c:v>0.01115487074107355</c:v>
                </c:pt>
                <c:pt idx="31">
                  <c:v>0.010993581082033424</c:v>
                </c:pt>
                <c:pt idx="32">
                  <c:v>0.010737078819399547</c:v>
                </c:pt>
                <c:pt idx="33">
                  <c:v>0.010414904281833235</c:v>
                </c:pt>
                <c:pt idx="34">
                  <c:v>0.010048071276734375</c:v>
                </c:pt>
                <c:pt idx="35">
                  <c:v>0.010002549351240952</c:v>
                </c:pt>
                <c:pt idx="36">
                  <c:v>0.009805653416485538</c:v>
                </c:pt>
                <c:pt idx="37">
                  <c:v>0.009630914238459364</c:v>
                </c:pt>
                <c:pt idx="38">
                  <c:v>0.009110053980572826</c:v>
                </c:pt>
                <c:pt idx="39">
                  <c:v>0.008853133568420995</c:v>
                </c:pt>
                <c:pt idx="40">
                  <c:v>0.008707331992894283</c:v>
                </c:pt>
                <c:pt idx="41">
                  <c:v>0.00862251736718003</c:v>
                </c:pt>
                <c:pt idx="42">
                  <c:v>0.008297284554203874</c:v>
                </c:pt>
                <c:pt idx="43">
                  <c:v>0.008181284359530892</c:v>
                </c:pt>
                <c:pt idx="44">
                  <c:v>0.007848733530288941</c:v>
                </c:pt>
                <c:pt idx="45">
                  <c:v>0.007826571488107273</c:v>
                </c:pt>
                <c:pt idx="46">
                  <c:v>0.007608665499695917</c:v>
                </c:pt>
                <c:pt idx="47">
                  <c:v>0.0071210104837850395</c:v>
                </c:pt>
                <c:pt idx="48">
                  <c:v>0.007081642853341755</c:v>
                </c:pt>
                <c:pt idx="49">
                  <c:v>0.006821082921831854</c:v>
                </c:pt>
                <c:pt idx="50">
                  <c:v>0.006690628919828672</c:v>
                </c:pt>
                <c:pt idx="51">
                  <c:v>0.0064768958033637695</c:v>
                </c:pt>
                <c:pt idx="52">
                  <c:v>0.006422226893778014</c:v>
                </c:pt>
                <c:pt idx="53">
                  <c:v>0.006048597539913823</c:v>
                </c:pt>
                <c:pt idx="54">
                  <c:v>0.006048498386827879</c:v>
                </c:pt>
                <c:pt idx="55">
                  <c:v>0.005850241358284565</c:v>
                </c:pt>
                <c:pt idx="56">
                  <c:v>0.005786078313838677</c:v>
                </c:pt>
                <c:pt idx="57">
                  <c:v>0.005109375409028911</c:v>
                </c:pt>
                <c:pt idx="58">
                  <c:v>0.004824545187568128</c:v>
                </c:pt>
                <c:pt idx="59">
                  <c:v>0.004821721893432308</c:v>
                </c:pt>
                <c:pt idx="60">
                  <c:v>0.004597913731795758</c:v>
                </c:pt>
                <c:pt idx="61">
                  <c:v>0.004593363699644389</c:v>
                </c:pt>
                <c:pt idx="62">
                  <c:v>0.00455075472775118</c:v>
                </c:pt>
                <c:pt idx="63">
                  <c:v>0.004504983391213007</c:v>
                </c:pt>
                <c:pt idx="64">
                  <c:v>0.004327017779364548</c:v>
                </c:pt>
                <c:pt idx="65">
                  <c:v>0.0042466008911477395</c:v>
                </c:pt>
                <c:pt idx="66">
                  <c:v>0.0041733052427275</c:v>
                </c:pt>
                <c:pt idx="67">
                  <c:v>0.0038778480238369256</c:v>
                </c:pt>
                <c:pt idx="68">
                  <c:v>0.0037822509174981213</c:v>
                </c:pt>
                <c:pt idx="69">
                  <c:v>0.003717732132026575</c:v>
                </c:pt>
                <c:pt idx="70">
                  <c:v>0.003501905727508648</c:v>
                </c:pt>
                <c:pt idx="71">
                  <c:v>0.0033449036485977994</c:v>
                </c:pt>
                <c:pt idx="72">
                  <c:v>0.0031367920210805555</c:v>
                </c:pt>
                <c:pt idx="73">
                  <c:v>0.002848222582871345</c:v>
                </c:pt>
                <c:pt idx="74">
                  <c:v>0.0027439090254203955</c:v>
                </c:pt>
                <c:pt idx="75">
                  <c:v>0.0025725066059706435</c:v>
                </c:pt>
                <c:pt idx="76">
                  <c:v>0.0023916710122230543</c:v>
                </c:pt>
                <c:pt idx="77">
                  <c:v>0.0023647634989735827</c:v>
                </c:pt>
                <c:pt idx="78">
                  <c:v>0.0018353155663238274</c:v>
                </c:pt>
                <c:pt idx="79">
                  <c:v>0.0018215782904956563</c:v>
                </c:pt>
                <c:pt idx="80">
                  <c:v>0.0011462828316850073</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11.40131334405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15.118674893578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12.709245375373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2755078813047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3020479888651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2843366454539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006C6D"/>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Banana Boat Dry Balance Sport Spray FPS50 17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Vaseline Daily Use FPS50+ 50ml</c:v>
                </c:pt>
                <c:pt idx="68">
                  <c:v>Australian Gold Extreme Sport Spray FPS50 170g</c:v>
                </c:pt>
                <c:pt idx="69">
                  <c:v>Neutrogena Mineral Ultra Sheer Stick FPS50 42g</c:v>
                </c:pt>
                <c:pt idx="70">
                  <c:v>Banana Boat Advanced Protection Face Fluid FPS50+ 50ml</c:v>
                </c:pt>
                <c:pt idx="71">
                  <c:v>Banana Boat Kids Sport Roll-on FPS50+ 75ml</c:v>
                </c:pt>
                <c:pt idx="72">
                  <c:v>Equate Sport Spray FPS30 156g</c:v>
                </c:pt>
                <c:pt idx="73">
                  <c:v>Banana Boat Baby Lotion FPS50+ 177ml</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494616007438</c:v>
                </c:pt>
                <c:pt idx="1">
                  <c:v>0.03987483368203208</c:v>
                </c:pt>
                <c:pt idx="2">
                  <c:v>0.03856417432837938</c:v>
                </c:pt>
                <c:pt idx="3">
                  <c:v>0.036182108822241155</c:v>
                </c:pt>
                <c:pt idx="4">
                  <c:v>0.03417130605784838</c:v>
                </c:pt>
                <c:pt idx="5">
                  <c:v>0.030945913721363315</c:v>
                </c:pt>
                <c:pt idx="6">
                  <c:v>0.03067433282153326</c:v>
                </c:pt>
                <c:pt idx="7">
                  <c:v>0.028812070600651864</c:v>
                </c:pt>
                <c:pt idx="8">
                  <c:v>0.027931932315598096</c:v>
                </c:pt>
                <c:pt idx="9">
                  <c:v>0.026298880823753278</c:v>
                </c:pt>
                <c:pt idx="10">
                  <c:v>0.024897719082619948</c:v>
                </c:pt>
                <c:pt idx="11">
                  <c:v>0.023020089770052495</c:v>
                </c:pt>
                <c:pt idx="12">
                  <c:v>0.022737972650639354</c:v>
                </c:pt>
                <c:pt idx="13">
                  <c:v>0.020970226142318166</c:v>
                </c:pt>
                <c:pt idx="14">
                  <c:v>0.019509543774090372</c:v>
                </c:pt>
                <c:pt idx="15">
                  <c:v>0.019049884048099812</c:v>
                </c:pt>
                <c:pt idx="16">
                  <c:v>0.018976039197726842</c:v>
                </c:pt>
                <c:pt idx="17">
                  <c:v>0.01825743141132931</c:v>
                </c:pt>
                <c:pt idx="18">
                  <c:v>0.018071063237694134</c:v>
                </c:pt>
                <c:pt idx="19">
                  <c:v>0.01651779106823201</c:v>
                </c:pt>
                <c:pt idx="20">
                  <c:v>0.016253525899299775</c:v>
                </c:pt>
                <c:pt idx="21">
                  <c:v>0.015660118420431413</c:v>
                </c:pt>
                <c:pt idx="22">
                  <c:v>0.013742761281852657</c:v>
                </c:pt>
                <c:pt idx="23">
                  <c:v>0.013527978454323325</c:v>
                </c:pt>
                <c:pt idx="24">
                  <c:v>0.013101003632975597</c:v>
                </c:pt>
                <c:pt idx="25">
                  <c:v>0.012763022573418945</c:v>
                </c:pt>
                <c:pt idx="26">
                  <c:v>0.012584106836176903</c:v>
                </c:pt>
                <c:pt idx="27">
                  <c:v>0.012528542953608621</c:v>
                </c:pt>
                <c:pt idx="28">
                  <c:v>0.012163871560051982</c:v>
                </c:pt>
                <c:pt idx="29">
                  <c:v>0.011310333150253447</c:v>
                </c:pt>
                <c:pt idx="30">
                  <c:v>0.011299058835567097</c:v>
                </c:pt>
                <c:pt idx="31">
                  <c:v>0.01090795067620931</c:v>
                </c:pt>
                <c:pt idx="32">
                  <c:v>0.010560162651063453</c:v>
                </c:pt>
                <c:pt idx="33">
                  <c:v>0.010361455361628585</c:v>
                </c:pt>
                <c:pt idx="34">
                  <c:v>0.010180346005589494</c:v>
                </c:pt>
                <c:pt idx="35">
                  <c:v>0.009921569823950623</c:v>
                </c:pt>
                <c:pt idx="36">
                  <c:v>0.009824237896182388</c:v>
                </c:pt>
                <c:pt idx="37">
                  <c:v>0.009211602871328124</c:v>
                </c:pt>
                <c:pt idx="38">
                  <c:v>0.009204864998520985</c:v>
                </c:pt>
                <c:pt idx="39">
                  <c:v>0.008856669612234759</c:v>
                </c:pt>
                <c:pt idx="40">
                  <c:v>0.008729312824683543</c:v>
                </c:pt>
                <c:pt idx="41">
                  <c:v>0.008445637182598355</c:v>
                </c:pt>
                <c:pt idx="42">
                  <c:v>0.008290551656950848</c:v>
                </c:pt>
                <c:pt idx="43">
                  <c:v>0.00802450856191598</c:v>
                </c:pt>
                <c:pt idx="44">
                  <c:v>0.007929390477448651</c:v>
                </c:pt>
                <c:pt idx="45">
                  <c:v>0.007745005597650663</c:v>
                </c:pt>
                <c:pt idx="46">
                  <c:v>0.007498123666439512</c:v>
                </c:pt>
                <c:pt idx="47">
                  <c:v>0.0071714288022484045</c:v>
                </c:pt>
                <c:pt idx="48">
                  <c:v>0.006953400729835805</c:v>
                </c:pt>
                <c:pt idx="49">
                  <c:v>0.00687857715393216</c:v>
                </c:pt>
                <c:pt idx="50">
                  <c:v>0.006651955163292659</c:v>
                </c:pt>
                <c:pt idx="51">
                  <c:v>0.006591967608346741</c:v>
                </c:pt>
                <c:pt idx="52">
                  <c:v>0.006307025691009964</c:v>
                </c:pt>
                <c:pt idx="53">
                  <c:v>0.0062259728482099595</c:v>
                </c:pt>
                <c:pt idx="54">
                  <c:v>0.005960588870868007</c:v>
                </c:pt>
                <c:pt idx="55">
                  <c:v>0.005853610049248122</c:v>
                </c:pt>
                <c:pt idx="56">
                  <c:v>0.005277567344332515</c:v>
                </c:pt>
                <c:pt idx="57">
                  <c:v>0.00495971886252065</c:v>
                </c:pt>
                <c:pt idx="58">
                  <c:v>0.0049588074363871</c:v>
                </c:pt>
                <c:pt idx="59">
                  <c:v>0.004728298452792624</c:v>
                </c:pt>
                <c:pt idx="60">
                  <c:v>0.004689216310657009</c:v>
                </c:pt>
                <c:pt idx="61">
                  <c:v>0.004626907448876885</c:v>
                </c:pt>
                <c:pt idx="62">
                  <c:v>0.004560156674502041</c:v>
                </c:pt>
                <c:pt idx="63">
                  <c:v>0.0044308142008590064</c:v>
                </c:pt>
                <c:pt idx="64">
                  <c:v>0.0043670009673519115</c:v>
                </c:pt>
                <c:pt idx="65">
                  <c:v>0.00422095769937604</c:v>
                </c:pt>
                <c:pt idx="66">
                  <c:v>0.004000619696663965</c:v>
                </c:pt>
                <c:pt idx="67">
                  <c:v>0.0038205138183087226</c:v>
                </c:pt>
                <c:pt idx="68">
                  <c:v>0.003818369421796968</c:v>
                </c:pt>
                <c:pt idx="69">
                  <c:v>0.003531221637834174</c:v>
                </c:pt>
                <c:pt idx="70">
                  <c:v>0.0034563758757310144</c:v>
                </c:pt>
                <c:pt idx="71">
                  <c:v>0.003268178204977643</c:v>
                </c:pt>
                <c:pt idx="72">
                  <c:v>0.0029061881996264357</c:v>
                </c:pt>
                <c:pt idx="73">
                  <c:v>0.002893679574534917</c:v>
                </c:pt>
                <c:pt idx="74">
                  <c:v>0.002803385942288111</c:v>
                </c:pt>
                <c:pt idx="75">
                  <c:v>0.0026315694155659313</c:v>
                </c:pt>
                <c:pt idx="76">
                  <c:v>0.0024273609085479365</c:v>
                </c:pt>
                <c:pt idx="77">
                  <c:v>0.0024196009718551854</c:v>
                </c:pt>
                <c:pt idx="78">
                  <c:v>0.0018850142198930386</c:v>
                </c:pt>
                <c:pt idx="79">
                  <c:v>0.001877344771242963</c:v>
                </c:pt>
                <c:pt idx="80">
                  <c:v>0.00117263184785280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142.68083022486493</c:v>
                </c:pt>
                <c:pt idx="1">
                  <c:v>124.1439186854498</c:v>
                </c:pt>
                <c:pt idx="2">
                  <c:v>143.43350326220238</c:v>
                </c:pt>
                <c:pt idx="3">
                  <c:v>174.2710069039033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45.04228416364126</c:v>
                </c:pt>
                <c:pt idx="1">
                  <c:v>125.8496061844195</c:v>
                </c:pt>
                <c:pt idx="2">
                  <c:v>140.42836488541403</c:v>
                </c:pt>
                <c:pt idx="3">
                  <c:v>146.185820701668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144.45674558288448</c:v>
                </c:pt>
                <c:pt idx="1">
                  <c:v>127.91536947597497</c:v>
                </c:pt>
                <c:pt idx="2">
                  <c:v>121.79337218311784</c:v>
                </c:pt>
                <c:pt idx="3">
                  <c:v>144.4213271237472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878686358899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3.7618754835540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3.81069027974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B$2:$B$4</c:f>
              <c:numCache>
                <c:formatCode>General</c:formatCode>
                <c:ptCount val="3"/>
                <c:pt idx="0">
                  <c:v>103.57407819706917</c:v>
                </c:pt>
                <c:pt idx="1">
                  <c:v>101.67961972464981</c:v>
                </c:pt>
                <c:pt idx="2">
                  <c:v>101.2456546619626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C$2:$C$4</c:f>
              <c:numCache>
                <c:formatCode>General</c:formatCode>
                <c:ptCount val="3"/>
                <c:pt idx="0">
                  <c:v>104.57241555693446</c:v>
                </c:pt>
                <c:pt idx="1">
                  <c:v>101.22504515743755</c:v>
                </c:pt>
                <c:pt idx="2">
                  <c:v>101.10215270435039</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15g @240</c:v>
                </c:pt>
                <c:pt idx="2">
                  <c:v>Hawaiian Tropic Ozono Ultra-Light FPS50+ 140ml @275</c:v>
                </c:pt>
              </c:strCache>
            </c:strRef>
          </c:cat>
          <c:val>
            <c:numRef>
              <c:f>Sheet1!$D$2:$D$4</c:f>
              <c:numCache>
                <c:formatCode>General</c:formatCode>
                <c:ptCount val="3"/>
                <c:pt idx="0">
                  <c:v>104.26702809824302</c:v>
                </c:pt>
                <c:pt idx="1">
                  <c:v>100.72226841873824</c:v>
                </c:pt>
                <c:pt idx="2">
                  <c:v>100.2719773486021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1.20299218883841</c:v>
                </c:pt>
                <c:pt idx="1">
                  <c:v>101.29721551257542</c:v>
                </c:pt>
                <c:pt idx="2">
                  <c:v>100.7936722555782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0.80862748320398</c:v>
                </c:pt>
                <c:pt idx="1">
                  <c:v>100.43853915824128</c:v>
                </c:pt>
                <c:pt idx="2">
                  <c:v>100.5760693853403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0.59301912534026</c:v>
                </c:pt>
                <c:pt idx="1">
                  <c:v>100.20106717280515</c:v>
                </c:pt>
                <c:pt idx="2">
                  <c:v>100.2172235444458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88786410875304</c:v>
                </c:pt>
                <c:pt idx="1">
                  <c:v>101.0070231163603</c:v>
                </c:pt>
                <c:pt idx="2">
                  <c:v>101.38443669868957</c:v>
                </c:pt>
                <c:pt idx="3">
                  <c:v>111.8921096425028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3.73212727219179</c:v>
                </c:pt>
                <c:pt idx="1">
                  <c:v>100.97858258963646</c:v>
                </c:pt>
                <c:pt idx="2">
                  <c:v>101.81186178068646</c:v>
                </c:pt>
                <c:pt idx="3">
                  <c:v>115.899540872789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5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3.81618085204364</c:v>
                </c:pt>
                <c:pt idx="1">
                  <c:v>100.85918134818819</c:v>
                </c:pt>
                <c:pt idx="2">
                  <c:v>101.95950014814656</c:v>
                </c:pt>
                <c:pt idx="3">
                  <c:v>111.622641384176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26097930144448</c:v>
                </c:pt>
                <c:pt idx="1">
                  <c:v>0.07923910843717683</c:v>
                </c:pt>
                <c:pt idx="2">
                  <c:v>0.07574390955065337</c:v>
                </c:pt>
                <c:pt idx="3">
                  <c:v>0.06241194660442474</c:v>
                </c:pt>
                <c:pt idx="4">
                  <c:v>0.05212979193798478</c:v>
                </c:pt>
                <c:pt idx="5">
                  <c:v>0.0515149740921223</c:v>
                </c:pt>
                <c:pt idx="6">
                  <c:v>0.05041542737333118</c:v>
                </c:pt>
                <c:pt idx="7">
                  <c:v>0.046939812813672516</c:v>
                </c:pt>
                <c:pt idx="8">
                  <c:v>0.0367411727163709</c:v>
                </c:pt>
                <c:pt idx="9">
                  <c:v>0.02805271309331145</c:v>
                </c:pt>
                <c:pt idx="10">
                  <c:v>0.02665017515202468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62443172344548</c:v>
                </c:pt>
                <c:pt idx="1">
                  <c:v>0.06439001519593851</c:v>
                </c:pt>
                <c:pt idx="2">
                  <c:v>0.054941918903599514</c:v>
                </c:pt>
                <c:pt idx="3">
                  <c:v>0.04268324790537059</c:v>
                </c:pt>
                <c:pt idx="4">
                  <c:v>0.035252042995970095</c:v>
                </c:pt>
                <c:pt idx="5">
                  <c:v>0.0348232789903863</c:v>
                </c:pt>
                <c:pt idx="6">
                  <c:v>0.03238972735265325</c:v>
                </c:pt>
                <c:pt idx="7">
                  <c:v>0.031461447027138885</c:v>
                </c:pt>
                <c:pt idx="8">
                  <c:v>0.028118513846784682</c:v>
                </c:pt>
                <c:pt idx="9">
                  <c:v>0.026576664913846443</c:v>
                </c:pt>
                <c:pt idx="10">
                  <c:v>0.0259390066249857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51774660030675</c:v>
                </c:pt>
                <c:pt idx="1">
                  <c:v>0.04948785484148479</c:v>
                </c:pt>
                <c:pt idx="2">
                  <c:v>0.039426001023836615</c:v>
                </c:pt>
                <c:pt idx="3">
                  <c:v>0.027547822992465686</c:v>
                </c:pt>
                <c:pt idx="4">
                  <c:v>0.029249851604353602</c:v>
                </c:pt>
                <c:pt idx="5">
                  <c:v>0.02788347735420822</c:v>
                </c:pt>
                <c:pt idx="6">
                  <c:v>0.025358489661323154</c:v>
                </c:pt>
                <c:pt idx="7">
                  <c:v>0.026059684398345863</c:v>
                </c:pt>
                <c:pt idx="8">
                  <c:v>0.024983722771402712</c:v>
                </c:pt>
                <c:pt idx="9">
                  <c:v>0.02257060719669963</c:v>
                </c:pt>
                <c:pt idx="10">
                  <c:v>0.02003716278787037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73510451951115</c:v>
                </c:pt>
                <c:pt idx="1">
                  <c:v>0.05922935598773815</c:v>
                </c:pt>
                <c:pt idx="2">
                  <c:v>0.036205571099947334</c:v>
                </c:pt>
                <c:pt idx="3">
                  <c:v>0.03608833268245031</c:v>
                </c:pt>
                <c:pt idx="4">
                  <c:v>0.044363742196879455</c:v>
                </c:pt>
                <c:pt idx="5">
                  <c:v>0.027622222544892334</c:v>
                </c:pt>
                <c:pt idx="6">
                  <c:v>0.0274108115280788</c:v>
                </c:pt>
                <c:pt idx="7">
                  <c:v>0.024472000669324877</c:v>
                </c:pt>
                <c:pt idx="8">
                  <c:v>0.02257011216150059</c:v>
                </c:pt>
                <c:pt idx="9">
                  <c:v>0.02459369057391757</c:v>
                </c:pt>
                <c:pt idx="10">
                  <c:v>0.026054907649063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300842487910079</c:v>
                </c:pt>
                <c:pt idx="1">
                  <c:v>0.04602132423120378</c:v>
                </c:pt>
                <c:pt idx="2">
                  <c:v>0.03731413786828479</c:v>
                </c:pt>
                <c:pt idx="3">
                  <c:v>0.03726857487259966</c:v>
                </c:pt>
                <c:pt idx="4">
                  <c:v>0.03282417562297117</c:v>
                </c:pt>
                <c:pt idx="5">
                  <c:v>0.02185457864431862</c:v>
                </c:pt>
                <c:pt idx="6">
                  <c:v>0.025180483228247237</c:v>
                </c:pt>
                <c:pt idx="7">
                  <c:v>0.02476654201035606</c:v>
                </c:pt>
                <c:pt idx="8">
                  <c:v>0.02472003862772602</c:v>
                </c:pt>
                <c:pt idx="9">
                  <c:v>0.020805595910673238</c:v>
                </c:pt>
                <c:pt idx="10">
                  <c:v>0.0239038578517567</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7ECAC4"/>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7ECAC4"/>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006C6D"/>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Glow Stick FPS50 20g</c:v>
                </c:pt>
                <c:pt idx="80">
                  <c:v>Beautycare Matte Face Lotion FPS30 50ml</c:v>
                </c:pt>
              </c:strCache>
            </c:strRef>
          </c:cat>
          <c:val>
            <c:numRef>
              <c:f>Sheet1!$B$2:$B$82</c:f>
              <c:numCache>
                <c:formatCode>General</c:formatCode>
                <c:ptCount val="81"/>
                <c:pt idx="0">
                  <c:v>0.0656638739767563</c:v>
                </c:pt>
                <c:pt idx="1">
                  <c:v>0.03993994885921108</c:v>
                </c:pt>
                <c:pt idx="2">
                  <c:v>0.038623188246332235</c:v>
                </c:pt>
                <c:pt idx="3">
                  <c:v>0.03621680823865301</c:v>
                </c:pt>
                <c:pt idx="4">
                  <c:v>0.03420856698915924</c:v>
                </c:pt>
                <c:pt idx="5">
                  <c:v>0.030976425285203533</c:v>
                </c:pt>
                <c:pt idx="6">
                  <c:v>0.030710692873554022</c:v>
                </c:pt>
                <c:pt idx="7">
                  <c:v>0.028862995400176398</c:v>
                </c:pt>
                <c:pt idx="8">
                  <c:v>0.027970444042764823</c:v>
                </c:pt>
                <c:pt idx="9">
                  <c:v>0.026326115993629537</c:v>
                </c:pt>
                <c:pt idx="10">
                  <c:v>0.024933201467410328</c:v>
                </c:pt>
                <c:pt idx="11">
                  <c:v>0.023047591786086292</c:v>
                </c:pt>
                <c:pt idx="12">
                  <c:v>0.022825113197719873</c:v>
                </c:pt>
                <c:pt idx="13">
                  <c:v>0.02102458830810826</c:v>
                </c:pt>
                <c:pt idx="14">
                  <c:v>0.019517715025451177</c:v>
                </c:pt>
                <c:pt idx="15">
                  <c:v>0.019077535602072846</c:v>
                </c:pt>
                <c:pt idx="16">
                  <c:v>0.018986559800113267</c:v>
                </c:pt>
                <c:pt idx="17">
                  <c:v>0.018283455223395115</c:v>
                </c:pt>
                <c:pt idx="18">
                  <c:v>0.018092583691820874</c:v>
                </c:pt>
                <c:pt idx="19">
                  <c:v>0.016534677489231684</c:v>
                </c:pt>
                <c:pt idx="20">
                  <c:v>0.016268918812540216</c:v>
                </c:pt>
                <c:pt idx="21">
                  <c:v>0.015710723280457573</c:v>
                </c:pt>
                <c:pt idx="22">
                  <c:v>0.013757998540139408</c:v>
                </c:pt>
                <c:pt idx="23">
                  <c:v>0.013557853743112419</c:v>
                </c:pt>
                <c:pt idx="24">
                  <c:v>0.01309216495852909</c:v>
                </c:pt>
                <c:pt idx="25">
                  <c:v>0.012771436723721068</c:v>
                </c:pt>
                <c:pt idx="26">
                  <c:v>0.012603495425422101</c:v>
                </c:pt>
                <c:pt idx="27">
                  <c:v>0.012523422788738124</c:v>
                </c:pt>
                <c:pt idx="28">
                  <c:v>0.012176529288420624</c:v>
                </c:pt>
                <c:pt idx="29">
                  <c:v>0.011326195828701598</c:v>
                </c:pt>
                <c:pt idx="30">
                  <c:v>0.01131074207307737</c:v>
                </c:pt>
                <c:pt idx="31">
                  <c:v>0.01089871766271148</c:v>
                </c:pt>
                <c:pt idx="32">
                  <c:v>0.010551246089401629</c:v>
                </c:pt>
                <c:pt idx="33">
                  <c:v>0.010363596879747349</c:v>
                </c:pt>
                <c:pt idx="34">
                  <c:v>0.010182423452650644</c:v>
                </c:pt>
                <c:pt idx="35">
                  <c:v>0.009937322066323426</c:v>
                </c:pt>
                <c:pt idx="36">
                  <c:v>0.009834389126923235</c:v>
                </c:pt>
                <c:pt idx="37">
                  <c:v>0.00922781327226481</c:v>
                </c:pt>
                <c:pt idx="38">
                  <c:v>0.009196472109830591</c:v>
                </c:pt>
                <c:pt idx="39">
                  <c:v>0.008843240936610059</c:v>
                </c:pt>
                <c:pt idx="40">
                  <c:v>0.008731720047890402</c:v>
                </c:pt>
                <c:pt idx="41">
                  <c:v>0.00843971229540864</c:v>
                </c:pt>
                <c:pt idx="42">
                  <c:v>0.008302783133216602</c:v>
                </c:pt>
                <c:pt idx="43">
                  <c:v>0.008049653485607891</c:v>
                </c:pt>
                <c:pt idx="44">
                  <c:v>0.007928067256756918</c:v>
                </c:pt>
                <c:pt idx="45">
                  <c:v>0.007748226440887388</c:v>
                </c:pt>
                <c:pt idx="46">
                  <c:v>0.007523203540321624</c:v>
                </c:pt>
                <c:pt idx="47">
                  <c:v>0.007178920619456183</c:v>
                </c:pt>
                <c:pt idx="48">
                  <c:v>0.006947429517849178</c:v>
                </c:pt>
                <c:pt idx="49">
                  <c:v>0.0068849221455455694</c:v>
                </c:pt>
                <c:pt idx="50">
                  <c:v>0.006670032278579556</c:v>
                </c:pt>
                <c:pt idx="51">
                  <c:v>0.006595242045586264</c:v>
                </c:pt>
                <c:pt idx="52">
                  <c:v>0.006328728653930122</c:v>
                </c:pt>
                <c:pt idx="53">
                  <c:v>0.006234948781551683</c:v>
                </c:pt>
                <c:pt idx="54">
                  <c:v>0.005958165986811775</c:v>
                </c:pt>
                <c:pt idx="55">
                  <c:v>0.0058489669096922145</c:v>
                </c:pt>
                <c:pt idx="56">
                  <c:v>0.00528758107034824</c:v>
                </c:pt>
                <c:pt idx="57">
                  <c:v>0.004967306931889407</c:v>
                </c:pt>
                <c:pt idx="58">
                  <c:v>0.004966143821989059</c:v>
                </c:pt>
                <c:pt idx="59">
                  <c:v>0.0047385571542711055</c:v>
                </c:pt>
                <c:pt idx="60">
                  <c:v>0.004700485027247385</c:v>
                </c:pt>
                <c:pt idx="61">
                  <c:v>0.004620130512608748</c:v>
                </c:pt>
                <c:pt idx="62">
                  <c:v>0.00455111648864371</c:v>
                </c:pt>
                <c:pt idx="63">
                  <c:v>0.004430203632114201</c:v>
                </c:pt>
                <c:pt idx="64">
                  <c:v>0.00437693993575452</c:v>
                </c:pt>
                <c:pt idx="65">
                  <c:v>0.0042203896601230575</c:v>
                </c:pt>
                <c:pt idx="66">
                  <c:v>0.004013083734919023</c:v>
                </c:pt>
                <c:pt idx="67">
                  <c:v>0.003824974392888098</c:v>
                </c:pt>
                <c:pt idx="68">
                  <c:v>0.003816191929158628</c:v>
                </c:pt>
                <c:pt idx="69">
                  <c:v>0.0035171378912402245</c:v>
                </c:pt>
                <c:pt idx="70">
                  <c:v>0.0034591620833798265</c:v>
                </c:pt>
                <c:pt idx="71">
                  <c:v>0.003274183404509667</c:v>
                </c:pt>
                <c:pt idx="72">
                  <c:v>0.0029101284678602337</c:v>
                </c:pt>
                <c:pt idx="73">
                  <c:v>0.00280001536817683</c:v>
                </c:pt>
                <c:pt idx="74">
                  <c:v>0.0026341883659040015</c:v>
                </c:pt>
                <c:pt idx="75">
                  <c:v>0.0024231842438365908</c:v>
                </c:pt>
                <c:pt idx="76">
                  <c:v>0.0024216117878474754</c:v>
                </c:pt>
                <c:pt idx="77">
                  <c:v>0.0018808174075985275</c:v>
                </c:pt>
                <c:pt idx="78">
                  <c:v>0.0018709361313294336</c:v>
                </c:pt>
                <c:pt idx="79">
                  <c:v>0.0017959357315548645</c:v>
                </c:pt>
                <c:pt idx="80">
                  <c:v>0.001172087129542272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814552664868775</c:v>
                </c:pt>
                <c:pt idx="1">
                  <c:v>0.047749201588291885</c:v>
                </c:pt>
                <c:pt idx="2">
                  <c:v>0.03425632736263948</c:v>
                </c:pt>
                <c:pt idx="3">
                  <c:v>0.03965499099898141</c:v>
                </c:pt>
                <c:pt idx="4">
                  <c:v>0.02871563709869566</c:v>
                </c:pt>
                <c:pt idx="5">
                  <c:v>0.024394021347839405</c:v>
                </c:pt>
                <c:pt idx="6">
                  <c:v>0.023376083880684947</c:v>
                </c:pt>
                <c:pt idx="7">
                  <c:v>0.01955619038869434</c:v>
                </c:pt>
                <c:pt idx="8">
                  <c:v>0.022186860959092496</c:v>
                </c:pt>
                <c:pt idx="9">
                  <c:v>0.02411177534085252</c:v>
                </c:pt>
                <c:pt idx="10">
                  <c:v>0.021497694978009674</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648737866159</c:v>
                </c:pt>
                <c:pt idx="1">
                  <c:v>0.06286452475147013</c:v>
                </c:pt>
                <c:pt idx="2">
                  <c:v>0.05665174576450232</c:v>
                </c:pt>
                <c:pt idx="3">
                  <c:v>0.053960639946643296</c:v>
                </c:pt>
                <c:pt idx="4">
                  <c:v>0.04333026513195736</c:v>
                </c:pt>
                <c:pt idx="5">
                  <c:v>0.03756336328368951</c:v>
                </c:pt>
                <c:pt idx="6">
                  <c:v>0.03256788826845107</c:v>
                </c:pt>
                <c:pt idx="7">
                  <c:v>0.03030842985096183</c:v>
                </c:pt>
                <c:pt idx="8">
                  <c:v>0.03007662864406911</c:v>
                </c:pt>
                <c:pt idx="9">
                  <c:v>0.028054914970136118</c:v>
                </c:pt>
                <c:pt idx="10">
                  <c:v>0.026830595823597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5454859334061</c:v>
                </c:pt>
                <c:pt idx="1">
                  <c:v>0.08246885774191234</c:v>
                </c:pt>
                <c:pt idx="2">
                  <c:v>0.08779043503627681</c:v>
                </c:pt>
                <c:pt idx="3">
                  <c:v>0.07703202217113983</c:v>
                </c:pt>
                <c:pt idx="4">
                  <c:v>0.04685512921108215</c:v>
                </c:pt>
                <c:pt idx="5">
                  <c:v>0.04897321163942719</c:v>
                </c:pt>
                <c:pt idx="6">
                  <c:v>0.026506863391568616</c:v>
                </c:pt>
                <c:pt idx="7">
                  <c:v>0.03182344801464678</c:v>
                </c:pt>
                <c:pt idx="8">
                  <c:v>0.024732824569274402</c:v>
                </c:pt>
                <c:pt idx="9">
                  <c:v>0.02148918081862944</c:v>
                </c:pt>
                <c:pt idx="10">
                  <c:v>0.01974304783742802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15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70264173289734</c:v>
                </c:pt>
                <c:pt idx="1">
                  <c:v>0.05789506470012798</c:v>
                </c:pt>
                <c:pt idx="2">
                  <c:v>0.03411843899649692</c:v>
                </c:pt>
                <c:pt idx="3">
                  <c:v>0.02853154150596362</c:v>
                </c:pt>
                <c:pt idx="4">
                  <c:v>0.03383314367293596</c:v>
                </c:pt>
                <c:pt idx="5">
                  <c:v>0.024298780708691195</c:v>
                </c:pt>
                <c:pt idx="6">
                  <c:v>0.030882049620316657</c:v>
                </c:pt>
                <c:pt idx="7">
                  <c:v>0.012182187885114618</c:v>
                </c:pt>
                <c:pt idx="8">
                  <c:v>0.016550033946253928</c:v>
                </c:pt>
                <c:pt idx="9">
                  <c:v>0.01888561269856161</c:v>
                </c:pt>
                <c:pt idx="10">
                  <c:v>0.0301181565298352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26022926326612</c:v>
                </c:pt>
                <c:pt idx="1">
                  <c:v>0.050929911393455284</c:v>
                </c:pt>
                <c:pt idx="2">
                  <c:v>0.048822703890959496</c:v>
                </c:pt>
                <c:pt idx="3">
                  <c:v>0.037179548834686986</c:v>
                </c:pt>
                <c:pt idx="4">
                  <c:v>0.06038000004649368</c:v>
                </c:pt>
                <c:pt idx="5">
                  <c:v>0.0410637465857316</c:v>
                </c:pt>
                <c:pt idx="6">
                  <c:v>0.045335024126671314</c:v>
                </c:pt>
                <c:pt idx="7">
                  <c:v>0.024227034101015194</c:v>
                </c:pt>
                <c:pt idx="8">
                  <c:v>0.02557370007350346</c:v>
                </c:pt>
                <c:pt idx="9">
                  <c:v>0.025005508966393017</c:v>
                </c:pt>
                <c:pt idx="10">
                  <c:v>0.0152080890675631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93991113685173</c:v>
                </c:pt>
                <c:pt idx="1">
                  <c:v>0.051626536493902676</c:v>
                </c:pt>
                <c:pt idx="2">
                  <c:v>0.051312627327673485</c:v>
                </c:pt>
                <c:pt idx="3">
                  <c:v>0.041830522800172146</c:v>
                </c:pt>
                <c:pt idx="4">
                  <c:v>0.03574201544732954</c:v>
                </c:pt>
                <c:pt idx="5">
                  <c:v>0.033735541798290324</c:v>
                </c:pt>
                <c:pt idx="6">
                  <c:v>0.028489829699388784</c:v>
                </c:pt>
                <c:pt idx="7">
                  <c:v>0.0222399793786073</c:v>
                </c:pt>
                <c:pt idx="8">
                  <c:v>0.025362926961137133</c:v>
                </c:pt>
                <c:pt idx="9">
                  <c:v>0.026380390363876065</c:v>
                </c:pt>
                <c:pt idx="10">
                  <c:v>0.02011567897384358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426315493034785</c:v>
                </c:pt>
                <c:pt idx="1">
                  <c:v>0.04076777668539425</c:v>
                </c:pt>
                <c:pt idx="2">
                  <c:v>0.04498019590751167</c:v>
                </c:pt>
                <c:pt idx="3">
                  <c:v>0.03969060749128183</c:v>
                </c:pt>
                <c:pt idx="4">
                  <c:v>0.028564596053907047</c:v>
                </c:pt>
                <c:pt idx="5">
                  <c:v>0.02932481624553693</c:v>
                </c:pt>
                <c:pt idx="6">
                  <c:v>0.02773687490546274</c:v>
                </c:pt>
                <c:pt idx="7">
                  <c:v>0.024566442770555117</c:v>
                </c:pt>
                <c:pt idx="8">
                  <c:v>0.01822359811922938</c:v>
                </c:pt>
                <c:pt idx="9">
                  <c:v>0.0186908035193984</c:v>
                </c:pt>
                <c:pt idx="10">
                  <c:v>0.0237616449341880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12043193797497</c:v>
                </c:pt>
                <c:pt idx="1">
                  <c:v>0.05097227773629677</c:v>
                </c:pt>
                <c:pt idx="2">
                  <c:v>0.04336956620524936</c:v>
                </c:pt>
                <c:pt idx="3">
                  <c:v>0.03359172922768683</c:v>
                </c:pt>
                <c:pt idx="4">
                  <c:v>0.03720290063536817</c:v>
                </c:pt>
                <c:pt idx="5">
                  <c:v>0.02770743188920463</c:v>
                </c:pt>
                <c:pt idx="6">
                  <c:v>0.03106173907522156</c:v>
                </c:pt>
                <c:pt idx="7">
                  <c:v>0.022489454005970518</c:v>
                </c:pt>
                <c:pt idx="8">
                  <c:v>0.025086127701719876</c:v>
                </c:pt>
                <c:pt idx="9">
                  <c:v>0.02214594129348675</c:v>
                </c:pt>
                <c:pt idx="10">
                  <c:v>0.01950488357618918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6205569627503</c:v>
                </c:pt>
                <c:pt idx="1">
                  <c:v>0.07099714139288214</c:v>
                </c:pt>
                <c:pt idx="2">
                  <c:v>0.04463025524640186</c:v>
                </c:pt>
                <c:pt idx="3">
                  <c:v>0.049836154915509245</c:v>
                </c:pt>
                <c:pt idx="4">
                  <c:v>0.03948632843905864</c:v>
                </c:pt>
                <c:pt idx="5">
                  <c:v>0.03921992252846364</c:v>
                </c:pt>
                <c:pt idx="6">
                  <c:v>0.036149032042421654</c:v>
                </c:pt>
                <c:pt idx="7">
                  <c:v>0.04074135225141974</c:v>
                </c:pt>
                <c:pt idx="8">
                  <c:v>0.03449737410726831</c:v>
                </c:pt>
                <c:pt idx="9">
                  <c:v>0.03061632654402119</c:v>
                </c:pt>
                <c:pt idx="10">
                  <c:v>0.02617433550618405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2921309928213</c:v>
                </c:pt>
                <c:pt idx="1">
                  <c:v>0.04973689473776002</c:v>
                </c:pt>
                <c:pt idx="2">
                  <c:v>0.032979884556257104</c:v>
                </c:pt>
                <c:pt idx="3">
                  <c:v>0.035951742522797925</c:v>
                </c:pt>
                <c:pt idx="4">
                  <c:v>0.024526703958025253</c:v>
                </c:pt>
                <c:pt idx="5">
                  <c:v>0.0267804284040129</c:v>
                </c:pt>
                <c:pt idx="6">
                  <c:v>0.023432077276797175</c:v>
                </c:pt>
                <c:pt idx="7">
                  <c:v>0.018165234056443946</c:v>
                </c:pt>
                <c:pt idx="8">
                  <c:v>0.038078795024296716</c:v>
                </c:pt>
                <c:pt idx="9">
                  <c:v>0.035407053398616946</c:v>
                </c:pt>
                <c:pt idx="10">
                  <c:v>0.0294622859567147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7ECAC4"/>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006C6D"/>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Beautycare Sensitive Face Lotion FPS50+ 50ml</c:v>
                </c:pt>
                <c:pt idx="76">
                  <c:v>Ocean Potion Spray FPS30 156g</c:v>
                </c:pt>
                <c:pt idx="77">
                  <c:v>Hawaiian Tropic Mineral Brush FPS30 4.25g</c:v>
                </c:pt>
                <c:pt idx="78">
                  <c:v>Beautycare Antioxidant Face Lotion FPS50+ 50ml</c:v>
                </c:pt>
                <c:pt idx="79">
                  <c:v>Beautycare Matte Face Lotion FPS30 50ml</c:v>
                </c:pt>
                <c:pt idx="80">
                  <c:v>Beautycare Glow Serum FPS50 30ml</c:v>
                </c:pt>
              </c:strCache>
            </c:strRef>
          </c:cat>
          <c:val>
            <c:numRef>
              <c:f>Sheet1!$B$2:$B$82</c:f>
              <c:numCache>
                <c:formatCode>General</c:formatCode>
                <c:ptCount val="81"/>
                <c:pt idx="0">
                  <c:v>0.06568012688371762</c:v>
                </c:pt>
                <c:pt idx="1">
                  <c:v>0.039957506902475064</c:v>
                </c:pt>
                <c:pt idx="2">
                  <c:v>0.038633460350535546</c:v>
                </c:pt>
                <c:pt idx="3">
                  <c:v>0.03622132860999369</c:v>
                </c:pt>
                <c:pt idx="4">
                  <c:v>0.03421743808036905</c:v>
                </c:pt>
                <c:pt idx="5">
                  <c:v>0.030983717667568092</c:v>
                </c:pt>
                <c:pt idx="6">
                  <c:v>0.030728737291644503</c:v>
                </c:pt>
                <c:pt idx="7">
                  <c:v>0.02887858565628898</c:v>
                </c:pt>
                <c:pt idx="8">
                  <c:v>0.02798216502704574</c:v>
                </c:pt>
                <c:pt idx="9">
                  <c:v>0.026333874634694266</c:v>
                </c:pt>
                <c:pt idx="10">
                  <c:v>0.024939284167167286</c:v>
                </c:pt>
                <c:pt idx="11">
                  <c:v>0.023055769355706527</c:v>
                </c:pt>
                <c:pt idx="12">
                  <c:v>0.022840786119098407</c:v>
                </c:pt>
                <c:pt idx="13">
                  <c:v>0.021035454340043818</c:v>
                </c:pt>
                <c:pt idx="14">
                  <c:v>0.019539789330226983</c:v>
                </c:pt>
                <c:pt idx="15">
                  <c:v>0.019082301584987606</c:v>
                </c:pt>
                <c:pt idx="16">
                  <c:v>0.019000944223501563</c:v>
                </c:pt>
                <c:pt idx="17">
                  <c:v>0.018294358162106467</c:v>
                </c:pt>
                <c:pt idx="18">
                  <c:v>0.01810699782967332</c:v>
                </c:pt>
                <c:pt idx="19">
                  <c:v>0.01654413495884131</c:v>
                </c:pt>
                <c:pt idx="20">
                  <c:v>0.01627841133895706</c:v>
                </c:pt>
                <c:pt idx="21">
                  <c:v>0.015719295220551266</c:v>
                </c:pt>
                <c:pt idx="22">
                  <c:v>0.013769567615732906</c:v>
                </c:pt>
                <c:pt idx="23">
                  <c:v>0.013565027925257933</c:v>
                </c:pt>
                <c:pt idx="24">
                  <c:v>0.013108525253910602</c:v>
                </c:pt>
                <c:pt idx="25">
                  <c:v>0.012780921910712567</c:v>
                </c:pt>
                <c:pt idx="26">
                  <c:v>0.012612049607195669</c:v>
                </c:pt>
                <c:pt idx="27">
                  <c:v>0.01254305177521809</c:v>
                </c:pt>
                <c:pt idx="28">
                  <c:v>0.012180229477665509</c:v>
                </c:pt>
                <c:pt idx="29">
                  <c:v>0.011347109298291044</c:v>
                </c:pt>
                <c:pt idx="30">
                  <c:v>0.01131774114255296</c:v>
                </c:pt>
                <c:pt idx="31">
                  <c:v>0.01091530047703381</c:v>
                </c:pt>
                <c:pt idx="32">
                  <c:v>0.010565123618395473</c:v>
                </c:pt>
                <c:pt idx="33">
                  <c:v>0.010368990078066461</c:v>
                </c:pt>
                <c:pt idx="34">
                  <c:v>0.010187650874663083</c:v>
                </c:pt>
                <c:pt idx="35">
                  <c:v>0.009946979438255897</c:v>
                </c:pt>
                <c:pt idx="36">
                  <c:v>0.009840907199298164</c:v>
                </c:pt>
                <c:pt idx="37">
                  <c:v>0.00923610485928673</c:v>
                </c:pt>
                <c:pt idx="38">
                  <c:v>0.009200638330148453</c:v>
                </c:pt>
                <c:pt idx="39">
                  <c:v>0.008858757028660368</c:v>
                </c:pt>
                <c:pt idx="40">
                  <c:v>0.008735029926130521</c:v>
                </c:pt>
                <c:pt idx="41">
                  <c:v>0.008451363534196545</c:v>
                </c:pt>
                <c:pt idx="42">
                  <c:v>0.008309058966648308</c:v>
                </c:pt>
                <c:pt idx="43">
                  <c:v>0.00805743462801323</c:v>
                </c:pt>
                <c:pt idx="44">
                  <c:v>0.007931529723420906</c:v>
                </c:pt>
                <c:pt idx="45">
                  <c:v>0.0077532746520670315</c:v>
                </c:pt>
                <c:pt idx="46">
                  <c:v>0.007532187549132115</c:v>
                </c:pt>
                <c:pt idx="47">
                  <c:v>0.007184109594347772</c:v>
                </c:pt>
                <c:pt idx="48">
                  <c:v>0.0069601382120610365</c:v>
                </c:pt>
                <c:pt idx="49">
                  <c:v>0.0068926437062785395</c:v>
                </c:pt>
                <c:pt idx="50">
                  <c:v>0.006678593056742899</c:v>
                </c:pt>
                <c:pt idx="51">
                  <c:v>0.006601155267295448</c:v>
                </c:pt>
                <c:pt idx="52">
                  <c:v>0.006338032862640923</c:v>
                </c:pt>
                <c:pt idx="53">
                  <c:v>0.006241218072081717</c:v>
                </c:pt>
                <c:pt idx="54">
                  <c:v>0.005962976934146493</c:v>
                </c:pt>
                <c:pt idx="55">
                  <c:v>0.0058548844776691936</c:v>
                </c:pt>
                <c:pt idx="56">
                  <c:v>0.0052933183129397895</c:v>
                </c:pt>
                <c:pt idx="57">
                  <c:v>0.0049760712879156265</c:v>
                </c:pt>
                <c:pt idx="58">
                  <c:v>0.004971917770678315</c:v>
                </c:pt>
                <c:pt idx="59">
                  <c:v>0.004750575006438665</c:v>
                </c:pt>
                <c:pt idx="60">
                  <c:v>0.004709627614749908</c:v>
                </c:pt>
                <c:pt idx="61">
                  <c:v>0.004628966329450803</c:v>
                </c:pt>
                <c:pt idx="62">
                  <c:v>0.004563300290640404</c:v>
                </c:pt>
                <c:pt idx="63">
                  <c:v>0.004442738770336383</c:v>
                </c:pt>
                <c:pt idx="64">
                  <c:v>0.004383797170416449</c:v>
                </c:pt>
                <c:pt idx="65">
                  <c:v>0.004231373900200854</c:v>
                </c:pt>
                <c:pt idx="66">
                  <c:v>0.004018401367938588</c:v>
                </c:pt>
                <c:pt idx="67">
                  <c:v>0.003832567820118163</c:v>
                </c:pt>
                <c:pt idx="68">
                  <c:v>0.0038243944855051713</c:v>
                </c:pt>
                <c:pt idx="69">
                  <c:v>0.0035308480431136434</c:v>
                </c:pt>
                <c:pt idx="70">
                  <c:v>0.0034662200503796418</c:v>
                </c:pt>
                <c:pt idx="71">
                  <c:v>0.003280116975179635</c:v>
                </c:pt>
                <c:pt idx="72">
                  <c:v>0.002913363299412629</c:v>
                </c:pt>
                <c:pt idx="73">
                  <c:v>0.0028079312088553302</c:v>
                </c:pt>
                <c:pt idx="74">
                  <c:v>0.002637758753961385</c:v>
                </c:pt>
                <c:pt idx="75">
                  <c:v>0.002430559708555397</c:v>
                </c:pt>
                <c:pt idx="76">
                  <c:v>0.0024278744913714557</c:v>
                </c:pt>
                <c:pt idx="77">
                  <c:v>0.001885024105781434</c:v>
                </c:pt>
                <c:pt idx="78">
                  <c:v>0.0018779940231598118</c:v>
                </c:pt>
                <c:pt idx="79">
                  <c:v>0.0011738971873263703</c:v>
                </c:pt>
                <c:pt idx="80">
                  <c:v>0.00105858721716164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9968560991772</c:v>
                </c:pt>
                <c:pt idx="1">
                  <c:v>0.06964398512903192</c:v>
                </c:pt>
                <c:pt idx="2">
                  <c:v>0.05062743739961607</c:v>
                </c:pt>
                <c:pt idx="3">
                  <c:v>0.055644166955480016</c:v>
                </c:pt>
                <c:pt idx="4">
                  <c:v>0.04143259367599808</c:v>
                </c:pt>
                <c:pt idx="5">
                  <c:v>0.03521435253365312</c:v>
                </c:pt>
                <c:pt idx="6">
                  <c:v>0.033349646286375635</c:v>
                </c:pt>
                <c:pt idx="7">
                  <c:v>0.02638806243095265</c:v>
                </c:pt>
                <c:pt idx="8">
                  <c:v>0.03988670535172214</c:v>
                </c:pt>
                <c:pt idx="9">
                  <c:v>0.02773398855285194</c:v>
                </c:pt>
                <c:pt idx="10">
                  <c:v>0.0258406340225293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3568494273826</c:v>
                </c:pt>
                <c:pt idx="1">
                  <c:v>0.07853695354958459</c:v>
                </c:pt>
                <c:pt idx="2">
                  <c:v>0.06512644765994334</c:v>
                </c:pt>
                <c:pt idx="3">
                  <c:v>0.04531292274647133</c:v>
                </c:pt>
                <c:pt idx="4">
                  <c:v>0.07774431742897381</c:v>
                </c:pt>
                <c:pt idx="5">
                  <c:v>0.07393937941729783</c:v>
                </c:pt>
                <c:pt idx="6">
                  <c:v>0.04363321062728247</c:v>
                </c:pt>
                <c:pt idx="7">
                  <c:v>0.047437075673777605</c:v>
                </c:pt>
                <c:pt idx="8">
                  <c:v>0.012328554323097693</c:v>
                </c:pt>
                <c:pt idx="9">
                  <c:v>0.025946539087843754</c:v>
                </c:pt>
                <c:pt idx="10">
                  <c:v>0.03121903386507816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7ECAC4"/>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7ECAC4"/>
              </a:solidFill>
            </c:spPr>
            <c:extLst>
              <c:ext xmlns:c16="http://schemas.microsoft.com/office/drawing/2014/chart" uri="{C3380CC4-5D6E-409C-BE32-E72D297353CC}">
                <c16:uniqueId val="{00000039-902D-4251-AC41-C6D4CBCA5CD6}"/>
              </c:ext>
            </c:extLst>
          </c:dPt>
          <c:dPt>
            <c:idx val="29"/>
            <c:invertIfNegative val="1"/>
            <c:bubble3D val="0"/>
            <c:spPr>
              <a:solidFill>
                <a:srgbClr val="7ECAC4"/>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7ECAC4"/>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7ECAC4"/>
              </a:solidFill>
            </c:spPr>
            <c:extLst>
              <c:ext xmlns:c16="http://schemas.microsoft.com/office/drawing/2014/chart" uri="{C3380CC4-5D6E-409C-BE32-E72D297353CC}">
                <c16:uniqueId val="{00000099-B2E8-4080-83D6-EECA18439E6A}"/>
              </c:ext>
            </c:extLst>
          </c:dPt>
          <c:dPt>
            <c:idx val="77"/>
            <c:invertIfNegative val="1"/>
            <c:bubble3D val="0"/>
            <c:spPr>
              <a:solidFill>
                <a:srgbClr val="7ECAC4"/>
              </a:solidFill>
            </c:spPr>
            <c:extLst>
              <c:ext xmlns:c16="http://schemas.microsoft.com/office/drawing/2014/chart" uri="{C3380CC4-5D6E-409C-BE32-E72D297353CC}">
                <c16:uniqueId val="{0000009B-B2E8-4080-83D6-EECA18439E6A}"/>
              </c:ext>
            </c:extLst>
          </c:dPt>
          <c:dPt>
            <c:idx val="78"/>
            <c:invertIfNegative val="1"/>
            <c:bubble3D val="0"/>
            <c:spPr>
              <a:solidFill>
                <a:srgbClr val="7ECAC4"/>
              </a:solidFill>
            </c:spPr>
            <c:extLst>
              <c:ext xmlns:c16="http://schemas.microsoft.com/office/drawing/2014/chart" uri="{C3380CC4-5D6E-409C-BE32-E72D297353CC}">
                <c16:uniqueId val="{0000009D-B2E8-4080-83D6-EECA18439E6A}"/>
              </c:ext>
            </c:extLst>
          </c:dPt>
          <c:dPt>
            <c:idx val="79"/>
            <c:invertIfNegative val="1"/>
            <c:bubble3D val="0"/>
            <c:spPr>
              <a:solidFill>
                <a:srgbClr val="006C6D"/>
              </a:solidFill>
            </c:spPr>
            <c:extLst>
              <c:ext xmlns:c16="http://schemas.microsoft.com/office/drawing/2014/chart" uri="{C3380CC4-5D6E-409C-BE32-E72D297353CC}">
                <c16:uniqueId val="{0000009F-B2E8-4080-83D6-EECA18439E6A}"/>
              </c:ext>
            </c:extLst>
          </c:dPt>
          <c:dPt>
            <c:idx val="80"/>
            <c:invertIfNegative val="1"/>
            <c:bubble3D val="0"/>
            <c:spPr>
              <a:solidFill>
                <a:srgbClr val="7ECAC4"/>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Equate Sport Spray FPS30 156g</c:v>
                </c:pt>
                <c:pt idx="73">
                  <c:v>Vaseline Sunscreen Stick FPS50+ 15g</c:v>
                </c:pt>
                <c:pt idx="74">
                  <c:v>Equate Kids Stick FPS50 42g</c:v>
                </c:pt>
                <c:pt idx="75">
                  <c:v>Ocean Potion Spray FPS30 156g</c:v>
                </c:pt>
                <c:pt idx="76">
                  <c:v>Beautycare Sensitive Face Lotion FPS50+ 50ml</c:v>
                </c:pt>
                <c:pt idx="77">
                  <c:v>Hawaiian Tropic Mineral Brush FPS30 4.25g</c:v>
                </c:pt>
                <c:pt idx="78">
                  <c:v>Beautycare Antioxidant Face Lotion FPS50+ 50ml</c:v>
                </c:pt>
                <c:pt idx="79">
                  <c:v>Beautycare Pro Age Color Face Fluid FPS50+ 50ml</c:v>
                </c:pt>
                <c:pt idx="80">
                  <c:v>Beautycare Matte Face Lotion FPS30 50ml</c:v>
                </c:pt>
              </c:strCache>
            </c:strRef>
          </c:cat>
          <c:val>
            <c:numRef>
              <c:f>Sheet1!$B$2:$B$82</c:f>
              <c:numCache>
                <c:formatCode>General</c:formatCode>
                <c:ptCount val="81"/>
                <c:pt idx="0">
                  <c:v>0.06566241372192495</c:v>
                </c:pt>
                <c:pt idx="1">
                  <c:v>0.0399466081751413</c:v>
                </c:pt>
                <c:pt idx="2">
                  <c:v>0.03862499006017357</c:v>
                </c:pt>
                <c:pt idx="3">
                  <c:v>0.0362142822784837</c:v>
                </c:pt>
                <c:pt idx="4">
                  <c:v>0.03420753916965441</c:v>
                </c:pt>
                <c:pt idx="5">
                  <c:v>0.030966075786233206</c:v>
                </c:pt>
                <c:pt idx="6">
                  <c:v>0.03070790571604524</c:v>
                </c:pt>
                <c:pt idx="7">
                  <c:v>0.02886466393936204</c:v>
                </c:pt>
                <c:pt idx="8">
                  <c:v>0.02797333553531429</c:v>
                </c:pt>
                <c:pt idx="9">
                  <c:v>0.026325723540013134</c:v>
                </c:pt>
                <c:pt idx="10">
                  <c:v>0.024924896198281272</c:v>
                </c:pt>
                <c:pt idx="11">
                  <c:v>0.023047234153280333</c:v>
                </c:pt>
                <c:pt idx="12">
                  <c:v>0.022832369340132778</c:v>
                </c:pt>
                <c:pt idx="13">
                  <c:v>0.02102805697815309</c:v>
                </c:pt>
                <c:pt idx="14">
                  <c:v>0.019523674931007887</c:v>
                </c:pt>
                <c:pt idx="15">
                  <c:v>0.01907772350178751</c:v>
                </c:pt>
                <c:pt idx="16">
                  <c:v>0.01897620682498084</c:v>
                </c:pt>
                <c:pt idx="17">
                  <c:v>0.018288992000155938</c:v>
                </c:pt>
                <c:pt idx="18">
                  <c:v>0.01808891869849181</c:v>
                </c:pt>
                <c:pt idx="19">
                  <c:v>0.016536405289234966</c:v>
                </c:pt>
                <c:pt idx="20">
                  <c:v>0.016265514572348393</c:v>
                </c:pt>
                <c:pt idx="21">
                  <c:v>0.015714460615921636</c:v>
                </c:pt>
                <c:pt idx="22">
                  <c:v>0.013763760392911484</c:v>
                </c:pt>
                <c:pt idx="23">
                  <c:v>0.013555282432790845</c:v>
                </c:pt>
                <c:pt idx="24">
                  <c:v>0.013093647855283622</c:v>
                </c:pt>
                <c:pt idx="25">
                  <c:v>0.012769228417383571</c:v>
                </c:pt>
                <c:pt idx="26">
                  <c:v>0.012596736167768238</c:v>
                </c:pt>
                <c:pt idx="27">
                  <c:v>0.01251785501576095</c:v>
                </c:pt>
                <c:pt idx="28">
                  <c:v>0.012171863580688296</c:v>
                </c:pt>
                <c:pt idx="29">
                  <c:v>0.01133987185223767</c:v>
                </c:pt>
                <c:pt idx="30">
                  <c:v>0.01130943209620081</c:v>
                </c:pt>
                <c:pt idx="31">
                  <c:v>0.010901524621719274</c:v>
                </c:pt>
                <c:pt idx="32">
                  <c:v>0.010543766476247274</c:v>
                </c:pt>
                <c:pt idx="33">
                  <c:v>0.01036108624124817</c:v>
                </c:pt>
                <c:pt idx="34">
                  <c:v>0.010177952238242213</c:v>
                </c:pt>
                <c:pt idx="35">
                  <c:v>0.009937508718659522</c:v>
                </c:pt>
                <c:pt idx="36">
                  <c:v>0.00982949754943269</c:v>
                </c:pt>
                <c:pt idx="37">
                  <c:v>0.009227665047067526</c:v>
                </c:pt>
                <c:pt idx="38">
                  <c:v>0.009190139957289518</c:v>
                </c:pt>
                <c:pt idx="39">
                  <c:v>0.008836029652315976</c:v>
                </c:pt>
                <c:pt idx="40">
                  <c:v>0.008729325455823079</c:v>
                </c:pt>
                <c:pt idx="41">
                  <c:v>0.00843788567542288</c:v>
                </c:pt>
                <c:pt idx="42">
                  <c:v>0.008299919621414496</c:v>
                </c:pt>
                <c:pt idx="43">
                  <c:v>0.00805089987849311</c:v>
                </c:pt>
                <c:pt idx="44">
                  <c:v>0.007916012937943138</c:v>
                </c:pt>
                <c:pt idx="45">
                  <c:v>0.007742627515288084</c:v>
                </c:pt>
                <c:pt idx="46">
                  <c:v>0.007526657430196555</c:v>
                </c:pt>
                <c:pt idx="47">
                  <c:v>0.007179654359104699</c:v>
                </c:pt>
                <c:pt idx="48">
                  <c:v>0.006952616845517404</c:v>
                </c:pt>
                <c:pt idx="49">
                  <c:v>0.006884553125082989</c:v>
                </c:pt>
                <c:pt idx="50">
                  <c:v>0.006672944390273745</c:v>
                </c:pt>
                <c:pt idx="51">
                  <c:v>0.006590636907663476</c:v>
                </c:pt>
                <c:pt idx="52">
                  <c:v>0.006332659731334511</c:v>
                </c:pt>
                <c:pt idx="53">
                  <c:v>0.006234957597973897</c:v>
                </c:pt>
                <c:pt idx="54">
                  <c:v>0.005948356728467332</c:v>
                </c:pt>
                <c:pt idx="55">
                  <c:v>0.0058452598291264864</c:v>
                </c:pt>
                <c:pt idx="56">
                  <c:v>0.005288147730350774</c:v>
                </c:pt>
                <c:pt idx="57">
                  <c:v>0.004970397810326369</c:v>
                </c:pt>
                <c:pt idx="58">
                  <c:v>0.004967110629580593</c:v>
                </c:pt>
                <c:pt idx="59">
                  <c:v>0.004744043189165986</c:v>
                </c:pt>
                <c:pt idx="60">
                  <c:v>0.004705984488529351</c:v>
                </c:pt>
                <c:pt idx="61">
                  <c:v>0.00462333123645631</c:v>
                </c:pt>
                <c:pt idx="62">
                  <c:v>0.004555089441935108</c:v>
                </c:pt>
                <c:pt idx="63">
                  <c:v>0.004431360616867824</c:v>
                </c:pt>
                <c:pt idx="64">
                  <c:v>0.004378922449883471</c:v>
                </c:pt>
                <c:pt idx="65">
                  <c:v>0.004221903196557817</c:v>
                </c:pt>
                <c:pt idx="66">
                  <c:v>0.004015361102088227</c:v>
                </c:pt>
                <c:pt idx="67">
                  <c:v>0.003828011638267475</c:v>
                </c:pt>
                <c:pt idx="68">
                  <c:v>0.003815678099462813</c:v>
                </c:pt>
                <c:pt idx="69">
                  <c:v>0.003521424497093974</c:v>
                </c:pt>
                <c:pt idx="70">
                  <c:v>0.0034601572842784638</c:v>
                </c:pt>
                <c:pt idx="71">
                  <c:v>0.0032740051606684503</c:v>
                </c:pt>
                <c:pt idx="72">
                  <c:v>0.0029089237772195954</c:v>
                </c:pt>
                <c:pt idx="73">
                  <c:v>0.0028003524965194457</c:v>
                </c:pt>
                <c:pt idx="74">
                  <c:v>0.0026337454227544042</c:v>
                </c:pt>
                <c:pt idx="75">
                  <c:v>0.002423429194144413</c:v>
                </c:pt>
                <c:pt idx="76">
                  <c:v>0.0024216663863648163</c:v>
                </c:pt>
                <c:pt idx="77">
                  <c:v>0.001880176968390278</c:v>
                </c:pt>
                <c:pt idx="78">
                  <c:v>0.0018672416018483792</c:v>
                </c:pt>
                <c:pt idx="79">
                  <c:v>0.0018284658792961479</c:v>
                </c:pt>
                <c:pt idx="80">
                  <c:v>0.0011692623334537302</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7ECAC4"/>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7ECAC4"/>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7ECAC4"/>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7ECAC4"/>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7ECAC4"/>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006C6D"/>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7ECAC4"/>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7ECAC4"/>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7ECAC4"/>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Avene Emulsion Ultra-Mat Fluid FPS50+ 50ml</c:v>
                </c:pt>
                <c:pt idx="63">
                  <c:v>Hawaiian Tropic Ozono Spray FPS50+ 180ml</c:v>
                </c:pt>
                <c:pt idx="64">
                  <c:v>Banana Boat Mineral Kids Lotion FPS50 180ml</c:v>
                </c:pt>
                <c:pt idx="65">
                  <c:v>Vaseline Tone-up Cream FPS50+ 50ml</c:v>
                </c:pt>
                <c:pt idx="66">
                  <c:v>Banana Boat Aqua Protect Kids Spray FPS50+ 170g</c:v>
                </c:pt>
                <c:pt idx="67">
                  <c:v>Australian Gold Extreme Sport Spray FPS50 170g</c:v>
                </c:pt>
                <c:pt idx="68">
                  <c:v>Vaseline Daily Use FPS50+ 50ml</c:v>
                </c:pt>
                <c:pt idx="69">
                  <c:v>Neutrogena Mineral Ultra Sheer Stick FPS50 42g</c:v>
                </c:pt>
                <c:pt idx="70">
                  <c:v>Banana Boat Advanced Protection Face Fluid FPS50+ 50ml</c:v>
                </c:pt>
                <c:pt idx="71">
                  <c:v>Banana Boat Kids Sport Roll-on FPS50+ 75ml</c:v>
                </c:pt>
                <c:pt idx="72">
                  <c:v>Beautycare Glow Lip Oil FPS50+ 10g</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61182360192808</c:v>
                </c:pt>
                <c:pt idx="1">
                  <c:v>0.039900237568139665</c:v>
                </c:pt>
                <c:pt idx="2">
                  <c:v>0.03860055917779914</c:v>
                </c:pt>
                <c:pt idx="3">
                  <c:v>0.0361867104213666</c:v>
                </c:pt>
                <c:pt idx="4">
                  <c:v>0.03418704451886241</c:v>
                </c:pt>
                <c:pt idx="5">
                  <c:v>0.0309371797525053</c:v>
                </c:pt>
                <c:pt idx="6">
                  <c:v>0.030682370176481025</c:v>
                </c:pt>
                <c:pt idx="7">
                  <c:v>0.028830608106767644</c:v>
                </c:pt>
                <c:pt idx="8">
                  <c:v>0.027945823232704847</c:v>
                </c:pt>
                <c:pt idx="9">
                  <c:v>0.026295683895156973</c:v>
                </c:pt>
                <c:pt idx="10">
                  <c:v>0.024903570702644314</c:v>
                </c:pt>
                <c:pt idx="11">
                  <c:v>0.023025496755487086</c:v>
                </c:pt>
                <c:pt idx="12">
                  <c:v>0.022809028463073564</c:v>
                </c:pt>
                <c:pt idx="13">
                  <c:v>0.02100906675527074</c:v>
                </c:pt>
                <c:pt idx="14">
                  <c:v>0.01950258138793228</c:v>
                </c:pt>
                <c:pt idx="15">
                  <c:v>0.019064734176609973</c:v>
                </c:pt>
                <c:pt idx="16">
                  <c:v>0.01893943622570437</c:v>
                </c:pt>
                <c:pt idx="17">
                  <c:v>0.018261743580169118</c:v>
                </c:pt>
                <c:pt idx="18">
                  <c:v>0.018057279936149636</c:v>
                </c:pt>
                <c:pt idx="19">
                  <c:v>0.016511913452710327</c:v>
                </c:pt>
                <c:pt idx="20">
                  <c:v>0.016237501772592443</c:v>
                </c:pt>
                <c:pt idx="21">
                  <c:v>0.0157002286836202</c:v>
                </c:pt>
                <c:pt idx="22">
                  <c:v>0.01374284663461729</c:v>
                </c:pt>
                <c:pt idx="23">
                  <c:v>0.013537765913950665</c:v>
                </c:pt>
                <c:pt idx="24">
                  <c:v>0.013075038954792428</c:v>
                </c:pt>
                <c:pt idx="25">
                  <c:v>0.012743807473585817</c:v>
                </c:pt>
                <c:pt idx="26">
                  <c:v>0.012577147830441575</c:v>
                </c:pt>
                <c:pt idx="27">
                  <c:v>0.012507045148653957</c:v>
                </c:pt>
                <c:pt idx="28">
                  <c:v>0.012159069835380277</c:v>
                </c:pt>
                <c:pt idx="29">
                  <c:v>0.011318350946838248</c:v>
                </c:pt>
                <c:pt idx="30">
                  <c:v>0.01130098739687843</c:v>
                </c:pt>
                <c:pt idx="31">
                  <c:v>0.010879356725748895</c:v>
                </c:pt>
                <c:pt idx="32">
                  <c:v>0.010534528700843556</c:v>
                </c:pt>
                <c:pt idx="33">
                  <c:v>0.010352641946633961</c:v>
                </c:pt>
                <c:pt idx="34">
                  <c:v>0.01016632995314307</c:v>
                </c:pt>
                <c:pt idx="35">
                  <c:v>0.009920742497095882</c:v>
                </c:pt>
                <c:pt idx="36">
                  <c:v>0.00981656838014819</c:v>
                </c:pt>
                <c:pt idx="37">
                  <c:v>0.009212994257721296</c:v>
                </c:pt>
                <c:pt idx="38">
                  <c:v>0.009178851911700446</c:v>
                </c:pt>
                <c:pt idx="39">
                  <c:v>0.008831466785689508</c:v>
                </c:pt>
                <c:pt idx="40">
                  <c:v>0.008718291394593276</c:v>
                </c:pt>
                <c:pt idx="41">
                  <c:v>0.008425432964878849</c:v>
                </c:pt>
                <c:pt idx="42">
                  <c:v>0.008286397890195564</c:v>
                </c:pt>
                <c:pt idx="43">
                  <c:v>0.008039456791946958</c:v>
                </c:pt>
                <c:pt idx="44">
                  <c:v>0.007913159277009698</c:v>
                </c:pt>
                <c:pt idx="45">
                  <c:v>0.007730602939887234</c:v>
                </c:pt>
                <c:pt idx="46">
                  <c:v>0.007513154298168045</c:v>
                </c:pt>
                <c:pt idx="47">
                  <c:v>0.00716620914944027</c:v>
                </c:pt>
                <c:pt idx="48">
                  <c:v>0.006936113166905258</c:v>
                </c:pt>
                <c:pt idx="49">
                  <c:v>0.006876341971918199</c:v>
                </c:pt>
                <c:pt idx="50">
                  <c:v>0.006662123133828324</c:v>
                </c:pt>
                <c:pt idx="51">
                  <c:v>0.006579283500511257</c:v>
                </c:pt>
                <c:pt idx="52">
                  <c:v>0.006320479055579929</c:v>
                </c:pt>
                <c:pt idx="53">
                  <c:v>0.006224129546695708</c:v>
                </c:pt>
                <c:pt idx="54">
                  <c:v>0.005944864050893482</c:v>
                </c:pt>
                <c:pt idx="55">
                  <c:v>0.005832275376696005</c:v>
                </c:pt>
                <c:pt idx="56">
                  <c:v>0.005279899643226165</c:v>
                </c:pt>
                <c:pt idx="57">
                  <c:v>0.004960204372354167</c:v>
                </c:pt>
                <c:pt idx="58">
                  <c:v>0.004958981937585413</c:v>
                </c:pt>
                <c:pt idx="59">
                  <c:v>0.004728885094714923</c:v>
                </c:pt>
                <c:pt idx="60">
                  <c:v>0.004696408234143206</c:v>
                </c:pt>
                <c:pt idx="61">
                  <c:v>0.004614461658173769</c:v>
                </c:pt>
                <c:pt idx="62">
                  <c:v>0.004542933645243609</c:v>
                </c:pt>
                <c:pt idx="63">
                  <c:v>0.004421992548607977</c:v>
                </c:pt>
                <c:pt idx="64">
                  <c:v>0.004369754404494558</c:v>
                </c:pt>
                <c:pt idx="65">
                  <c:v>0.004209821068850533</c:v>
                </c:pt>
                <c:pt idx="66">
                  <c:v>0.004007958188840671</c:v>
                </c:pt>
                <c:pt idx="67">
                  <c:v>0.0038180038530752215</c:v>
                </c:pt>
                <c:pt idx="68">
                  <c:v>0.0038075683540498063</c:v>
                </c:pt>
                <c:pt idx="69">
                  <c:v>0.003512918510580028</c:v>
                </c:pt>
                <c:pt idx="70">
                  <c:v>0.0034512330033360018</c:v>
                </c:pt>
                <c:pt idx="71">
                  <c:v>0.0032666555373091375</c:v>
                </c:pt>
                <c:pt idx="72">
                  <c:v>0.0030594053406037035</c:v>
                </c:pt>
                <c:pt idx="73">
                  <c:v>0.0029035479031148627</c:v>
                </c:pt>
                <c:pt idx="74">
                  <c:v>0.002794017646391479</c:v>
                </c:pt>
                <c:pt idx="75">
                  <c:v>0.0026278960850232022</c:v>
                </c:pt>
                <c:pt idx="76">
                  <c:v>0.002416667978225499</c:v>
                </c:pt>
                <c:pt idx="77">
                  <c:v>0.002415918854263525</c:v>
                </c:pt>
                <c:pt idx="78">
                  <c:v>0.0018753981801704549</c:v>
                </c:pt>
                <c:pt idx="79">
                  <c:v>0.001865399779123679</c:v>
                </c:pt>
                <c:pt idx="80">
                  <c:v>0.0011695900318110907</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006C6D"/>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7ECAC4"/>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La Roche Posay Anthelios XL Gel-Cream FPS50+ 50ml</c:v>
                </c:pt>
                <c:pt idx="30">
                  <c:v>Neutrogena Sun Fresh Cream FPS50 120ml</c:v>
                </c:pt>
                <c:pt idx="31">
                  <c:v>Banana Boat Dry Balance Sport Spray FPS50 17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Garnier Super UV Serum FPS50+ 40ml</c:v>
                </c:pt>
                <c:pt idx="38">
                  <c:v>Equate Sport Lotion FPS30 237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Kids Sport Spray FPS50+ 240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Caribbean Beach Cuidado Face Cream FPS50+ 85ml</c:v>
                </c:pt>
                <c:pt idx="52">
                  <c:v>Banana Boat Aqua Protect Spray FPS50+ 170g</c:v>
                </c:pt>
                <c:pt idx="53">
                  <c:v>Equate Kids Lotion FPS50 237ml</c:v>
                </c:pt>
                <c:pt idx="54">
                  <c:v>Banana Boat Kids Sport Spray FPS50 170g</c:v>
                </c:pt>
                <c:pt idx="55">
                  <c:v>Nivea Sun Face Fluid Invisible FPS50+ 40ml</c:v>
                </c:pt>
                <c:pt idx="56">
                  <c:v>Garnier Super UV Cream FPS50+ 40g</c:v>
                </c:pt>
                <c:pt idx="57">
                  <c:v>Banana Boat Mineral Sensitive Lotion FPS50 180ml</c:v>
                </c:pt>
                <c:pt idx="58">
                  <c:v>Hawaiian Tropic Argan Spray FPS15 220ml</c:v>
                </c:pt>
                <c:pt idx="59">
                  <c:v>Hawaiian Tropic Island Sport Spray FPS50 220ml</c:v>
                </c:pt>
                <c:pt idx="60">
                  <c:v>Avène Emulsion Mat Perfect Cream FPS50+ 50ml</c:v>
                </c:pt>
                <c:pt idx="61">
                  <c:v>Banana Boat Advanced Protection Sport Roll-on FPS50+ 75ml</c:v>
                </c:pt>
                <c:pt idx="62">
                  <c:v>Avene Emulsion Ultra-Mat Fluid FPS50+ 50ml</c:v>
                </c:pt>
                <c:pt idx="63">
                  <c:v>Banana Boat Aqua Protect Sport Spray FPS50+ 170g</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43026502737598</c:v>
                </c:pt>
                <c:pt idx="1">
                  <c:v>0.039655386049840376</c:v>
                </c:pt>
                <c:pt idx="2">
                  <c:v>0.038460362338371974</c:v>
                </c:pt>
                <c:pt idx="3">
                  <c:v>0.03610429977544505</c:v>
                </c:pt>
                <c:pt idx="4">
                  <c:v>0.03403960724677204</c:v>
                </c:pt>
                <c:pt idx="5">
                  <c:v>0.030891979616872903</c:v>
                </c:pt>
                <c:pt idx="6">
                  <c:v>0.030531738462063796</c:v>
                </c:pt>
                <c:pt idx="7">
                  <c:v>0.028728503652535584</c:v>
                </c:pt>
                <c:pt idx="8">
                  <c:v>0.02781834623553517</c:v>
                </c:pt>
                <c:pt idx="9">
                  <c:v>0.026253242941218204</c:v>
                </c:pt>
                <c:pt idx="10">
                  <c:v>0.024869319841694305</c:v>
                </c:pt>
                <c:pt idx="11">
                  <c:v>0.022940936857163273</c:v>
                </c:pt>
                <c:pt idx="12">
                  <c:v>0.02252382263673994</c:v>
                </c:pt>
                <c:pt idx="13">
                  <c:v>0.0208798664420919</c:v>
                </c:pt>
                <c:pt idx="14">
                  <c:v>0.0194399778066303</c:v>
                </c:pt>
                <c:pt idx="15">
                  <c:v>0.018991991964240628</c:v>
                </c:pt>
                <c:pt idx="16">
                  <c:v>0.01894841752102511</c:v>
                </c:pt>
                <c:pt idx="17">
                  <c:v>0.018159998856057416</c:v>
                </c:pt>
                <c:pt idx="18">
                  <c:v>0.018027959623093205</c:v>
                </c:pt>
                <c:pt idx="19">
                  <c:v>0.01646488547653814</c:v>
                </c:pt>
                <c:pt idx="20">
                  <c:v>0.016216602256280962</c:v>
                </c:pt>
                <c:pt idx="21">
                  <c:v>0.015551705174164206</c:v>
                </c:pt>
                <c:pt idx="22">
                  <c:v>0.013649782756430437</c:v>
                </c:pt>
                <c:pt idx="23">
                  <c:v>0.013483809926274634</c:v>
                </c:pt>
                <c:pt idx="24">
                  <c:v>0.013068339349651655</c:v>
                </c:pt>
                <c:pt idx="25">
                  <c:v>0.012737563488166079</c:v>
                </c:pt>
                <c:pt idx="26">
                  <c:v>0.012553306310369173</c:v>
                </c:pt>
                <c:pt idx="27">
                  <c:v>0.012500208139432313</c:v>
                </c:pt>
                <c:pt idx="28">
                  <c:v>0.012125156788664528</c:v>
                </c:pt>
                <c:pt idx="29">
                  <c:v>0.01128939679477012</c:v>
                </c:pt>
                <c:pt idx="30">
                  <c:v>0.01088052700222352</c:v>
                </c:pt>
                <c:pt idx="31">
                  <c:v>0.010876891053309719</c:v>
                </c:pt>
                <c:pt idx="32">
                  <c:v>0.01051045487505845</c:v>
                </c:pt>
                <c:pt idx="33">
                  <c:v>0.010328016759558219</c:v>
                </c:pt>
                <c:pt idx="34">
                  <c:v>0.010163512658858337</c:v>
                </c:pt>
                <c:pt idx="35">
                  <c:v>0.009877870364491068</c:v>
                </c:pt>
                <c:pt idx="36">
                  <c:v>0.009791135488371775</c:v>
                </c:pt>
                <c:pt idx="37">
                  <c:v>0.00918437659943287</c:v>
                </c:pt>
                <c:pt idx="38">
                  <c:v>0.009171610593358989</c:v>
                </c:pt>
                <c:pt idx="39">
                  <c:v>0.008832555580948656</c:v>
                </c:pt>
                <c:pt idx="40">
                  <c:v>0.00871410304613126</c:v>
                </c:pt>
                <c:pt idx="41">
                  <c:v>0.008418225551146677</c:v>
                </c:pt>
                <c:pt idx="42">
                  <c:v>0.008272100502507014</c:v>
                </c:pt>
                <c:pt idx="43">
                  <c:v>0.007931356688788326</c:v>
                </c:pt>
                <c:pt idx="44">
                  <c:v>0.007915777619131353</c:v>
                </c:pt>
                <c:pt idx="45">
                  <c:v>0.007732680733514289</c:v>
                </c:pt>
                <c:pt idx="46">
                  <c:v>0.0076877537220326276</c:v>
                </c:pt>
                <c:pt idx="47">
                  <c:v>0.007406242635821061</c:v>
                </c:pt>
                <c:pt idx="48">
                  <c:v>0.007132762357270183</c:v>
                </c:pt>
                <c:pt idx="49">
                  <c:v>0.006906348610255149</c:v>
                </c:pt>
                <c:pt idx="50">
                  <c:v>0.006846618706482996</c:v>
                </c:pt>
                <c:pt idx="51">
                  <c:v>0.006572059842659857</c:v>
                </c:pt>
                <c:pt idx="52">
                  <c:v>0.006532644695523704</c:v>
                </c:pt>
                <c:pt idx="53">
                  <c:v>0.00619341941488445</c:v>
                </c:pt>
                <c:pt idx="54">
                  <c:v>0.0061728521693605815</c:v>
                </c:pt>
                <c:pt idx="55">
                  <c:v>0.005944356668986682</c:v>
                </c:pt>
                <c:pt idx="56">
                  <c:v>0.0058402443708314685</c:v>
                </c:pt>
                <c:pt idx="57">
                  <c:v>0.005242235359200066</c:v>
                </c:pt>
                <c:pt idx="58">
                  <c:v>0.0049120584455684254</c:v>
                </c:pt>
                <c:pt idx="59">
                  <c:v>0.004906217025915858</c:v>
                </c:pt>
                <c:pt idx="60">
                  <c:v>0.0046058567810730415</c:v>
                </c:pt>
                <c:pt idx="61">
                  <c:v>0.0045976964175652585</c:v>
                </c:pt>
                <c:pt idx="62">
                  <c:v>0.004532946735857928</c:v>
                </c:pt>
                <c:pt idx="63">
                  <c:v>0.004511570155306328</c:v>
                </c:pt>
                <c:pt idx="64">
                  <c:v>0.004384819162641602</c:v>
                </c:pt>
                <c:pt idx="65">
                  <c:v>0.004321257076222353</c:v>
                </c:pt>
                <c:pt idx="66">
                  <c:v>0.004191451095707477</c:v>
                </c:pt>
                <c:pt idx="67">
                  <c:v>0.003937662886132453</c:v>
                </c:pt>
                <c:pt idx="68">
                  <c:v>0.0038004507963828402</c:v>
                </c:pt>
                <c:pt idx="69">
                  <c:v>0.0037518115762950484</c:v>
                </c:pt>
                <c:pt idx="70">
                  <c:v>0.0035141339254615043</c:v>
                </c:pt>
                <c:pt idx="71">
                  <c:v>0.0034190230191781697</c:v>
                </c:pt>
                <c:pt idx="72">
                  <c:v>0.0032283264697988904</c:v>
                </c:pt>
                <c:pt idx="73">
                  <c:v>0.002894445483720528</c:v>
                </c:pt>
                <c:pt idx="74">
                  <c:v>0.0027774084319980626</c:v>
                </c:pt>
                <c:pt idx="75">
                  <c:v>0.0026205879392102245</c:v>
                </c:pt>
                <c:pt idx="76">
                  <c:v>0.002403524671762319</c:v>
                </c:pt>
                <c:pt idx="77">
                  <c:v>0.0023710838091227054</c:v>
                </c:pt>
                <c:pt idx="78">
                  <c:v>0.0018739180976090606</c:v>
                </c:pt>
                <c:pt idx="79">
                  <c:v>0.0018617682682404257</c:v>
                </c:pt>
                <c:pt idx="80">
                  <c:v>0.001166468703580853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7ECAC4"/>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7ECAC4"/>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7ECAC4"/>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7ECAC4"/>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Nuvel Suncare Mineral FPS50 120ml</c:v>
                </c:pt>
                <c:pt idx="16">
                  <c:v>Hawaiian Tropic Sheer Touch Lotion FPS30 24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Ozono Lotion FPS50+ 300ml</c:v>
                </c:pt>
                <c:pt idx="29">
                  <c:v>Hawaiian Tropic Sheer Touch Lotion FPS50 120ml</c:v>
                </c:pt>
                <c:pt idx="30">
                  <c:v>Banana Boat Dry Balance Sport Spray FPS50 170ml</c:v>
                </c:pt>
                <c:pt idx="31">
                  <c:v>La Roche Posay Anthelios XL Gel-Cream FPS50+ 50ml</c:v>
                </c:pt>
                <c:pt idx="32">
                  <c:v>Neutrogena Sun Fresh Cream FPS50 120ml</c:v>
                </c:pt>
                <c:pt idx="33">
                  <c:v>L'Oréal Paris UV DEFENDER Colored Fluid FPS50+ 40g</c:v>
                </c:pt>
                <c:pt idx="34">
                  <c:v>Nivea Sun Face Shine Control FPS50+ 50ml</c:v>
                </c:pt>
                <c:pt idx="35">
                  <c:v>Hawaiian Tropic Silk Hydration Lotion FPS50 180ml</c:v>
                </c:pt>
                <c:pt idx="36">
                  <c:v>Nivea Sun Kids Swim &amp; Play Gel FPS50+ 150ml</c:v>
                </c:pt>
                <c:pt idx="37">
                  <c:v>Hawaiian Tropic Ozono Lotion FPS50+ 120ml</c:v>
                </c:pt>
                <c:pt idx="38">
                  <c:v>Equate Sport Lotion FPS30 237ml</c:v>
                </c:pt>
                <c:pt idx="39">
                  <c:v>Garnier Super UV Serum FPS50+ 40ml</c:v>
                </c:pt>
                <c:pt idx="40">
                  <c:v>Isdin Fotoprotector Fusion Water Magic Light FPS50+ 50ml</c:v>
                </c:pt>
                <c:pt idx="41">
                  <c:v>Nivea Sun Face Sensitive Skin FPS50 50ml</c:v>
                </c:pt>
                <c:pt idx="42">
                  <c:v>Isdin Fotoprotector Fusion Water FPS50+ 50ml</c:v>
                </c:pt>
                <c:pt idx="43">
                  <c:v>Caribbean Beach Kids Cream FPS50+ 150g</c:v>
                </c:pt>
                <c:pt idx="44">
                  <c:v>Banana Boat Kids Sport Lotion FPS50 180ml</c:v>
                </c:pt>
                <c:pt idx="45">
                  <c:v>Nivea Sun Face Stain Control FPS50+ 40ml</c:v>
                </c:pt>
                <c:pt idx="46">
                  <c:v>Caribbean Beach Vitamin E Face Cream FPS50+ 85ml</c:v>
                </c:pt>
                <c:pt idx="47">
                  <c:v>Banana Boat Dry Balance Sport Lotion FPS50+ 180ml</c:v>
                </c:pt>
                <c:pt idx="48">
                  <c:v>Equate Ultra Spray FPS50 156g</c:v>
                </c:pt>
                <c:pt idx="49">
                  <c:v>Isdin Fotoprotector Face and Body Gel-Cream FPS50+ 250ml</c:v>
                </c:pt>
                <c:pt idx="50">
                  <c:v>Hawaiian Tropic Ozono Duo Defense Lotion FPS50+ 180ml</c:v>
                </c:pt>
                <c:pt idx="51">
                  <c:v>Banana Boat Aqua Protect Spray FPS50+ 170g</c:v>
                </c:pt>
                <c:pt idx="52">
                  <c:v>Caribbean Beach Cuidado Face Cream FPS50+ 85ml</c:v>
                </c:pt>
                <c:pt idx="53">
                  <c:v>Banana Boat Kids Sport Spray FPS50 170g</c:v>
                </c:pt>
                <c:pt idx="54">
                  <c:v>Equate Kids Lotion FPS50 237ml</c:v>
                </c:pt>
                <c:pt idx="55">
                  <c:v>Nivea Sun Face Fluid Invisible FPS50+ 40ml</c:v>
                </c:pt>
                <c:pt idx="56">
                  <c:v>Garnier Super UV Cream FPS50+ 40g</c:v>
                </c:pt>
                <c:pt idx="57">
                  <c:v>Banana Boat Mineral Sensitive Lotion FPS50 180ml</c:v>
                </c:pt>
                <c:pt idx="58">
                  <c:v>Hawaiian Tropic Island Sport Spray FPS50 220ml</c:v>
                </c:pt>
                <c:pt idx="59">
                  <c:v>Hawaiian Tropic Argan Spray FPS15 220ml</c:v>
                </c:pt>
                <c:pt idx="60">
                  <c:v>Banana Boat Advanced Protection Sport Roll-on FPS50+ 75ml</c:v>
                </c:pt>
                <c:pt idx="61">
                  <c:v>Banana Boat Aqua Protect Sport Spray FPS50+ 170g</c:v>
                </c:pt>
                <c:pt idx="62">
                  <c:v>Avène Emulsion Mat Perfect Cream FPS50+ 50ml</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Vaseline Daily Use FPS50+ 50ml</c:v>
                </c:pt>
                <c:pt idx="69">
                  <c:v>Australian Gold Extreme Sport Spray FPS50 170g</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Beautycare Sensitive Face Lotion FPS50+ 50ml</c:v>
                </c:pt>
                <c:pt idx="77">
                  <c:v>Ocean Potion Spray FPS30 156g</c:v>
                </c:pt>
                <c:pt idx="78">
                  <c:v>Beautycare Antioxidant Face Lotion FPS50+ 50ml</c:v>
                </c:pt>
                <c:pt idx="79">
                  <c:v>Hawaiian Tropic Mineral Brush FPS30 4.25g</c:v>
                </c:pt>
                <c:pt idx="80">
                  <c:v>Beautycare Matte Face Lotion FPS30 50ml</c:v>
                </c:pt>
              </c:strCache>
            </c:strRef>
          </c:cat>
          <c:val>
            <c:numRef>
              <c:f>Sheet1!$B$2:$B$82</c:f>
              <c:numCache>
                <c:formatCode>General</c:formatCode>
                <c:ptCount val="81"/>
                <c:pt idx="0">
                  <c:v>0.06504986800745753</c:v>
                </c:pt>
                <c:pt idx="1">
                  <c:v>0.03961996259201666</c:v>
                </c:pt>
                <c:pt idx="2">
                  <c:v>0.03784290435709312</c:v>
                </c:pt>
                <c:pt idx="3">
                  <c:v>0.03583669903541165</c:v>
                </c:pt>
                <c:pt idx="4">
                  <c:v>0.03326010684090232</c:v>
                </c:pt>
                <c:pt idx="5">
                  <c:v>0.030779396468665406</c:v>
                </c:pt>
                <c:pt idx="6">
                  <c:v>0.030060039058429005</c:v>
                </c:pt>
                <c:pt idx="7">
                  <c:v>0.028638691363427775</c:v>
                </c:pt>
                <c:pt idx="8">
                  <c:v>0.027279189340018627</c:v>
                </c:pt>
                <c:pt idx="9">
                  <c:v>0.02619846603135648</c:v>
                </c:pt>
                <c:pt idx="10">
                  <c:v>0.024865441921997498</c:v>
                </c:pt>
                <c:pt idx="11">
                  <c:v>0.022813842424133115</c:v>
                </c:pt>
                <c:pt idx="12">
                  <c:v>0.02261761603047534</c:v>
                </c:pt>
                <c:pt idx="13">
                  <c:v>0.02075799390849411</c:v>
                </c:pt>
                <c:pt idx="14">
                  <c:v>0.019375057623742323</c:v>
                </c:pt>
                <c:pt idx="15">
                  <c:v>0.01892539837978076</c:v>
                </c:pt>
                <c:pt idx="16">
                  <c:v>0.01870428021757628</c:v>
                </c:pt>
                <c:pt idx="17">
                  <c:v>0.018108280186871877</c:v>
                </c:pt>
                <c:pt idx="18">
                  <c:v>0.017972964574603203</c:v>
                </c:pt>
                <c:pt idx="19">
                  <c:v>0.016373436979747153</c:v>
                </c:pt>
                <c:pt idx="20">
                  <c:v>0.016197939180154233</c:v>
                </c:pt>
                <c:pt idx="21">
                  <c:v>0.015570914985282477</c:v>
                </c:pt>
                <c:pt idx="22">
                  <c:v>0.013627176277370388</c:v>
                </c:pt>
                <c:pt idx="23">
                  <c:v>0.013448749917960972</c:v>
                </c:pt>
                <c:pt idx="24">
                  <c:v>0.01291545649293828</c:v>
                </c:pt>
                <c:pt idx="25">
                  <c:v>0.012705421925853635</c:v>
                </c:pt>
                <c:pt idx="26">
                  <c:v>0.012552272763528674</c:v>
                </c:pt>
                <c:pt idx="27">
                  <c:v>0.01248028687633869</c:v>
                </c:pt>
                <c:pt idx="28">
                  <c:v>0.012349403246119982</c:v>
                </c:pt>
                <c:pt idx="29">
                  <c:v>0.012003913379526696</c:v>
                </c:pt>
                <c:pt idx="30">
                  <c:v>0.011236734805849387</c:v>
                </c:pt>
                <c:pt idx="31">
                  <c:v>0.011215261503563547</c:v>
                </c:pt>
                <c:pt idx="32">
                  <c:v>0.010793918868254268</c:v>
                </c:pt>
                <c:pt idx="33">
                  <c:v>0.0104827795427714</c:v>
                </c:pt>
                <c:pt idx="34">
                  <c:v>0.010112017020721785</c:v>
                </c:pt>
                <c:pt idx="35">
                  <c:v>0.01008258641637089</c:v>
                </c:pt>
                <c:pt idx="36">
                  <c:v>0.00986284665837004</c:v>
                </c:pt>
                <c:pt idx="37">
                  <c:v>0.009705575383527416</c:v>
                </c:pt>
                <c:pt idx="38">
                  <c:v>0.009150624776716413</c:v>
                </c:pt>
                <c:pt idx="39">
                  <c:v>0.009139785170923849</c:v>
                </c:pt>
                <c:pt idx="40">
                  <c:v>0.008725586000891296</c:v>
                </c:pt>
                <c:pt idx="41">
                  <c:v>0.008678993027147652</c:v>
                </c:pt>
                <c:pt idx="42">
                  <c:v>0.008345912226779934</c:v>
                </c:pt>
                <c:pt idx="43">
                  <c:v>0.008272120569844105</c:v>
                </c:pt>
                <c:pt idx="44">
                  <c:v>0.007979684513344854</c:v>
                </c:pt>
                <c:pt idx="45">
                  <c:v>0.007899095247583511</c:v>
                </c:pt>
                <c:pt idx="46">
                  <c:v>0.007707467974961126</c:v>
                </c:pt>
                <c:pt idx="47">
                  <c:v>0.007425442410970745</c:v>
                </c:pt>
                <c:pt idx="48">
                  <c:v>0.007157349823950825</c:v>
                </c:pt>
                <c:pt idx="49">
                  <c:v>0.00688000477789569</c:v>
                </c:pt>
                <c:pt idx="50">
                  <c:v>0.006754681302841746</c:v>
                </c:pt>
                <c:pt idx="51">
                  <c:v>0.006614665073441335</c:v>
                </c:pt>
                <c:pt idx="52">
                  <c:v>0.006540078533439398</c:v>
                </c:pt>
                <c:pt idx="53">
                  <c:v>0.006261975774380726</c:v>
                </c:pt>
                <c:pt idx="54">
                  <c:v>0.006185706725928795</c:v>
                </c:pt>
                <c:pt idx="55">
                  <c:v>0.005915469693104525</c:v>
                </c:pt>
                <c:pt idx="56">
                  <c:v>0.005816225682136716</c:v>
                </c:pt>
                <c:pt idx="57">
                  <c:v>0.005214766108620436</c:v>
                </c:pt>
                <c:pt idx="58">
                  <c:v>0.004897809570058397</c:v>
                </c:pt>
                <c:pt idx="59">
                  <c:v>0.0048843779724742405</c:v>
                </c:pt>
                <c:pt idx="60">
                  <c:v>0.004710393989009793</c:v>
                </c:pt>
                <c:pt idx="61">
                  <c:v>0.004667211745853322</c:v>
                </c:pt>
                <c:pt idx="62">
                  <c:v>0.00459567733582831</c:v>
                </c:pt>
                <c:pt idx="63">
                  <c:v>0.0045299394785974535</c:v>
                </c:pt>
                <c:pt idx="64">
                  <c:v>0.004381597130813378</c:v>
                </c:pt>
                <c:pt idx="65">
                  <c:v>0.0043282265289770385</c:v>
                </c:pt>
                <c:pt idx="66">
                  <c:v>0.00420290926312701</c:v>
                </c:pt>
                <c:pt idx="67">
                  <c:v>0.003980321664805638</c:v>
                </c:pt>
                <c:pt idx="68">
                  <c:v>0.003796444429002542</c:v>
                </c:pt>
                <c:pt idx="69">
                  <c:v>0.00379449128921259</c:v>
                </c:pt>
                <c:pt idx="70">
                  <c:v>0.003501231812216084</c:v>
                </c:pt>
                <c:pt idx="71">
                  <c:v>0.003422070203987892</c:v>
                </c:pt>
                <c:pt idx="72">
                  <c:v>0.0032404634709819213</c:v>
                </c:pt>
                <c:pt idx="73">
                  <c:v>0.002893662798707975</c:v>
                </c:pt>
                <c:pt idx="74">
                  <c:v>0.0027749037952002815</c:v>
                </c:pt>
                <c:pt idx="75">
                  <c:v>0.0026180119151451675</c:v>
                </c:pt>
                <c:pt idx="76">
                  <c:v>0.002409291686247776</c:v>
                </c:pt>
                <c:pt idx="77">
                  <c:v>0.002405481087751655</c:v>
                </c:pt>
                <c:pt idx="78">
                  <c:v>0.001858890692672296</c:v>
                </c:pt>
                <c:pt idx="79">
                  <c:v>0.001856670696791319</c:v>
                </c:pt>
                <c:pt idx="80">
                  <c:v>0.0011613954409314228</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15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7ECAC4"/>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7ECAC4"/>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7ECAC4"/>
              </a:solidFill>
            </c:spPr>
            <c:extLst>
              <c:ext xmlns:c16="http://schemas.microsoft.com/office/drawing/2014/chart" uri="{C3380CC4-5D6E-409C-BE32-E72D297353CC}">
                <c16:uniqueId val="{0000009B-B572-4DF2-A18B-EB5D630E70B4}"/>
              </c:ext>
            </c:extLst>
          </c:dPt>
          <c:dPt>
            <c:idx val="78"/>
            <c:invertIfNegative val="1"/>
            <c:bubble3D val="0"/>
            <c:spPr>
              <a:solidFill>
                <a:srgbClr val="7ECAC4"/>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7ECAC4"/>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Banana Boat Advanced Protection Lotion FPS50+ 240ml</c:v>
                </c:pt>
                <c:pt idx="3">
                  <c:v>Nivea Sun Protection Sensitive Skin Gel FPS50+ 200ml</c:v>
                </c:pt>
                <c:pt idx="4">
                  <c:v>Hawaiian Tropic Sheer Touch Lotion FPS50+ 240ml</c:v>
                </c:pt>
                <c:pt idx="5">
                  <c:v>Nivea Sun Protection &amp; Hydration Lotion FPS50+ 125ml</c:v>
                </c:pt>
                <c:pt idx="6">
                  <c:v>Hawaiian Tropic Ozono Lotion FPS50+ 240ml</c:v>
                </c:pt>
                <c:pt idx="7">
                  <c:v>Caribbean Beach Sport Cream FPS50+ 250g</c:v>
                </c:pt>
                <c:pt idx="8">
                  <c:v>Hawaiian Tropic Island Sport Lotion FPS50 240ml</c:v>
                </c:pt>
                <c:pt idx="9">
                  <c:v>Caribbean Beach Ultra Cream FPS50+ 250g</c:v>
                </c:pt>
                <c:pt idx="10">
                  <c:v>Nuvel Suncare Ultra Protection FPS50 120ml</c:v>
                </c:pt>
                <c:pt idx="11">
                  <c:v>Nivea Sun Protect &amp; Refresh Sport Invisible Spray FPS50 200ml</c:v>
                </c:pt>
                <c:pt idx="12">
                  <c:v>Banana Boat Aqua Protect Sport Lotion FPS50+ 236ml</c:v>
                </c:pt>
                <c:pt idx="13">
                  <c:v>Banana Boat Aqua Protect Cream FPS50+ 236ml</c:v>
                </c:pt>
                <c:pt idx="14">
                  <c:v>La Roche Posay Anthelios Uvmune 400 Fluid FPS50+ 50ml</c:v>
                </c:pt>
                <c:pt idx="15">
                  <c:v>Hawaiian Tropic Sheer Touch Lotion FPS30 240ml</c:v>
                </c:pt>
                <c:pt idx="16">
                  <c:v>Nuvel Suncare Mineral FPS50 120ml</c:v>
                </c:pt>
                <c:pt idx="17">
                  <c:v>Nivea Sun Protect &amp; Refresh Sport Spray FPS50 200ml</c:v>
                </c:pt>
                <c:pt idx="18">
                  <c:v>Caribbean Beach Sport Cream FPS50+ 150g</c:v>
                </c:pt>
                <c:pt idx="19">
                  <c:v>Nivea Sun Babies &amp; Kids Lotion FPS50+ 200ml</c:v>
                </c:pt>
                <c:pt idx="20">
                  <c:v>Caribbean Beach Advanced Protection Cream FPS50+ 150g</c:v>
                </c:pt>
                <c:pt idx="21">
                  <c:v>Banana Boat Aqua Protect Kids Cream FPS50+ 236ml</c:v>
                </c:pt>
                <c:pt idx="22">
                  <c:v>Nivea Sun Kids Protect &amp; Sensitive Spray FPS50+ 200ml</c:v>
                </c:pt>
                <c:pt idx="23">
                  <c:v>Caribbean Beach Kids Cream FPS50+ 250g</c:v>
                </c:pt>
                <c:pt idx="24">
                  <c:v>Neutrogena Sun Fresh Cream FPS50 200ml</c:v>
                </c:pt>
                <c:pt idx="25">
                  <c:v>Nuvel Suncare Kids Protection FPS50 120ml</c:v>
                </c:pt>
                <c:pt idx="26">
                  <c:v>Nuvel Suncare 2 in 1 FPS50 120ml</c:v>
                </c:pt>
                <c:pt idx="27">
                  <c:v>Eucerin Gel-Cream FPS50+ 50ml</c:v>
                </c:pt>
                <c:pt idx="28">
                  <c:v>Hawaiian Tropic Sheer Touch Lotion FPS50 120ml</c:v>
                </c:pt>
                <c:pt idx="29">
                  <c:v>Banana Boat Dry Balance Sport Spray FPS50 170ml</c:v>
                </c:pt>
                <c:pt idx="30">
                  <c:v>La Roche Posay Anthelios XL Gel-Cream FPS50+ 50ml</c:v>
                </c:pt>
                <c:pt idx="31">
                  <c:v>Neutrogena Sun Fresh Cream FPS50 120ml</c:v>
                </c:pt>
                <c:pt idx="32">
                  <c:v>L'Oréal Paris UV DEFENDER Colored Fluid FPS50+ 40g</c:v>
                </c:pt>
                <c:pt idx="33">
                  <c:v>Hawaiian Tropic Silk Hydration Lotion FPS50 180ml</c:v>
                </c:pt>
                <c:pt idx="34">
                  <c:v>Nivea Sun Face Shine Control FPS50+ 50ml</c:v>
                </c:pt>
                <c:pt idx="35">
                  <c:v>Nivea Sun Kids Swim &amp; Play Gel FPS50+ 150ml</c:v>
                </c:pt>
                <c:pt idx="36">
                  <c:v>Hawaiian Tropic Ozono Lotion FPS50+ 120ml</c:v>
                </c:pt>
                <c:pt idx="37">
                  <c:v>Equate Sport Lotion FPS30 237ml</c:v>
                </c:pt>
                <c:pt idx="38">
                  <c:v>Garnier Super UV Serum FPS50+ 40ml</c:v>
                </c:pt>
                <c:pt idx="39">
                  <c:v>Isdin Fotoprotector Fusion Water Magic Light FPS50+ 50ml</c:v>
                </c:pt>
                <c:pt idx="40">
                  <c:v>Nivea Sun Face Sensitive Skin FPS50 50ml</c:v>
                </c:pt>
                <c:pt idx="41">
                  <c:v>Isdin Fotoprotector Fusion Water FPS50+ 50ml</c:v>
                </c:pt>
                <c:pt idx="42">
                  <c:v>Caribbean Beach Kids Cream FPS50+ 150g</c:v>
                </c:pt>
                <c:pt idx="43">
                  <c:v>Banana Boat Kids Sport Lotion FPS50 180ml</c:v>
                </c:pt>
                <c:pt idx="44">
                  <c:v>Nivea Sun Face Stain Control FPS50+ 40ml</c:v>
                </c:pt>
                <c:pt idx="45">
                  <c:v>Caribbean Beach Vitamin E Face Cream FPS50+ 85ml</c:v>
                </c:pt>
                <c:pt idx="46">
                  <c:v>Banana Boat Dry Balance Sport Lotion FPS50+ 180ml</c:v>
                </c:pt>
                <c:pt idx="47">
                  <c:v>Equate Ultra Spray FPS50 156g</c:v>
                </c:pt>
                <c:pt idx="48">
                  <c:v>Isdin Fotoprotector Face and Body Gel-Cream FPS50+ 250ml</c:v>
                </c:pt>
                <c:pt idx="49">
                  <c:v>Hawaiian Tropic Ozono Duo Defense Lotion FPS50+ 180ml</c:v>
                </c:pt>
                <c:pt idx="50">
                  <c:v>Banana Boat Aqua Protect Spray FPS50+ 170g</c:v>
                </c:pt>
                <c:pt idx="51">
                  <c:v>Caribbean Beach Cuidado Face Cream FPS50+ 85ml</c:v>
                </c:pt>
                <c:pt idx="52">
                  <c:v>Banana Boat Kids Sport Spray FPS50 170g</c:v>
                </c:pt>
                <c:pt idx="53">
                  <c:v>Equate Kids Lotion FPS50 237ml</c:v>
                </c:pt>
                <c:pt idx="54">
                  <c:v>Nivea Sun Face Fluid Invisible FPS50+ 40ml</c:v>
                </c:pt>
                <c:pt idx="55">
                  <c:v>Garnier Super UV Cream FPS50+ 40g</c:v>
                </c:pt>
                <c:pt idx="56">
                  <c:v>Banana Boat Mineral Sensitive Lotion FPS50 180ml</c:v>
                </c:pt>
                <c:pt idx="57">
                  <c:v>Hawaiian Tropic Island Sport Spray FPS50 220ml</c:v>
                </c:pt>
                <c:pt idx="58">
                  <c:v>Hawaiian Tropic Argan Spray FPS15 220ml</c:v>
                </c:pt>
                <c:pt idx="59">
                  <c:v>Banana Boat Advanced Protection Sport Roll-on FPS50+ 75ml</c:v>
                </c:pt>
                <c:pt idx="60">
                  <c:v>Banana Boat Aqua Protect Sport Spray FPS50+ 170g</c:v>
                </c:pt>
                <c:pt idx="61">
                  <c:v>Avène Emulsion Mat Perfect Cream FPS50+ 50ml</c:v>
                </c:pt>
                <c:pt idx="62">
                  <c:v>Hawaiian Tropic Ozono Stick FPS50+ 42g</c:v>
                </c:pt>
                <c:pt idx="63">
                  <c:v>Avene Emulsion Ultra-Mat Fluid FPS50+ 50ml</c:v>
                </c:pt>
                <c:pt idx="64">
                  <c:v>Hawaiian Tropic Ozono Spray FPS50+ 180ml</c:v>
                </c:pt>
                <c:pt idx="65">
                  <c:v>Banana Boat Mineral Kids Lotion FPS50 180ml</c:v>
                </c:pt>
                <c:pt idx="66">
                  <c:v>Vaseline Tone-up Cream FPS50+ 50ml</c:v>
                </c:pt>
                <c:pt idx="67">
                  <c:v>Banana Boat Aqua Protect Kids Spray FPS50+ 170g</c:v>
                </c:pt>
                <c:pt idx="68">
                  <c:v>Australian Gold Extreme Sport Spray FPS50 170g</c:v>
                </c:pt>
                <c:pt idx="69">
                  <c:v>Vaseline Daily Use FPS50+ 50ml</c:v>
                </c:pt>
                <c:pt idx="70">
                  <c:v>Neutrogena Mineral Ultra Sheer Stick FPS50 42g</c:v>
                </c:pt>
                <c:pt idx="71">
                  <c:v>Banana Boat Advanced Protection Face Fluid FPS50+ 50ml</c:v>
                </c:pt>
                <c:pt idx="72">
                  <c:v>Banana Boat Kids Sport Roll-on FPS50+ 75ml</c:v>
                </c:pt>
                <c:pt idx="73">
                  <c:v>Equate Sport Spray FPS30 156g</c:v>
                </c:pt>
                <c:pt idx="74">
                  <c:v>Vaseline Sunscreen Stick FPS50+ 15g</c:v>
                </c:pt>
                <c:pt idx="75">
                  <c:v>Equate Kids Stick FPS50 42g</c:v>
                </c:pt>
                <c:pt idx="76">
                  <c:v>Ocean Potion Spray FPS30 156g</c:v>
                </c:pt>
                <c:pt idx="77">
                  <c:v>Beautycare Sensitive Face Lotion FPS50+ 50ml</c:v>
                </c:pt>
                <c:pt idx="78">
                  <c:v>Hawaiian Tropic Mineral Brush FPS30 4.25g</c:v>
                </c:pt>
                <c:pt idx="79">
                  <c:v>Beautycare Antioxidant Face Lotion FPS50+ 50ml</c:v>
                </c:pt>
                <c:pt idx="80">
                  <c:v>Beautycare Matte Face Lotion FPS30 50ml</c:v>
                </c:pt>
              </c:strCache>
            </c:strRef>
          </c:cat>
          <c:val>
            <c:numRef>
              <c:f>Sheet1!$B$2:$B$82</c:f>
              <c:numCache>
                <c:formatCode>General</c:formatCode>
                <c:ptCount val="81"/>
                <c:pt idx="0">
                  <c:v>0.06558295769294492</c:v>
                </c:pt>
                <c:pt idx="1">
                  <c:v>0.0398972759460432</c:v>
                </c:pt>
                <c:pt idx="2">
                  <c:v>0.03857676674510852</c:v>
                </c:pt>
                <c:pt idx="3">
                  <c:v>0.036177015556582544</c:v>
                </c:pt>
                <c:pt idx="4">
                  <c:v>0.03411998709160168</c:v>
                </c:pt>
                <c:pt idx="5">
                  <c:v>0.030928931100917413</c:v>
                </c:pt>
                <c:pt idx="6">
                  <c:v>0.030575354235045926</c:v>
                </c:pt>
                <c:pt idx="7">
                  <c:v>0.028794931089741134</c:v>
                </c:pt>
                <c:pt idx="8">
                  <c:v>0.02791209071570468</c:v>
                </c:pt>
                <c:pt idx="9">
                  <c:v>0.026265288797885675</c:v>
                </c:pt>
                <c:pt idx="10">
                  <c:v>0.02488101202144843</c:v>
                </c:pt>
                <c:pt idx="11">
                  <c:v>0.023007582015005832</c:v>
                </c:pt>
                <c:pt idx="12">
                  <c:v>0.022795660866462477</c:v>
                </c:pt>
                <c:pt idx="13">
                  <c:v>0.021005602148632178</c:v>
                </c:pt>
                <c:pt idx="14">
                  <c:v>0.019508165378117528</c:v>
                </c:pt>
                <c:pt idx="15">
                  <c:v>0.019031533210476858</c:v>
                </c:pt>
                <c:pt idx="16">
                  <c:v>0.018921284522100405</c:v>
                </c:pt>
                <c:pt idx="17">
                  <c:v>0.018264103526869063</c:v>
                </c:pt>
                <c:pt idx="18">
                  <c:v>0.01802184215364492</c:v>
                </c:pt>
                <c:pt idx="19">
                  <c:v>0.01651022050032491</c:v>
                </c:pt>
                <c:pt idx="20">
                  <c:v>0.01620505488217563</c:v>
                </c:pt>
                <c:pt idx="21">
                  <c:v>0.01570343817637251</c:v>
                </c:pt>
                <c:pt idx="22">
                  <c:v>0.013724685207422429</c:v>
                </c:pt>
                <c:pt idx="23">
                  <c:v>0.01352817400106338</c:v>
                </c:pt>
                <c:pt idx="24">
                  <c:v>0.013007739145984812</c:v>
                </c:pt>
                <c:pt idx="25">
                  <c:v>0.012737754821234855</c:v>
                </c:pt>
                <c:pt idx="26">
                  <c:v>0.012562180034536605</c:v>
                </c:pt>
                <c:pt idx="27">
                  <c:v>0.012501189995417222</c:v>
                </c:pt>
                <c:pt idx="28">
                  <c:v>0.01210584794692322</c:v>
                </c:pt>
                <c:pt idx="29">
                  <c:v>0.011317407331700965</c:v>
                </c:pt>
                <c:pt idx="30">
                  <c:v>0.011286386444846565</c:v>
                </c:pt>
                <c:pt idx="31">
                  <c:v>0.010858736931009269</c:v>
                </c:pt>
                <c:pt idx="32">
                  <c:v>0.010508228348999381</c:v>
                </c:pt>
                <c:pt idx="33">
                  <c:v>0.010288639640328275</c:v>
                </c:pt>
                <c:pt idx="34">
                  <c:v>0.010148678691761172</c:v>
                </c:pt>
                <c:pt idx="35">
                  <c:v>0.009912653944813277</c:v>
                </c:pt>
                <c:pt idx="36">
                  <c:v>0.00976798444416357</c:v>
                </c:pt>
                <c:pt idx="37">
                  <c:v>0.009198370237475845</c:v>
                </c:pt>
                <c:pt idx="38">
                  <c:v>0.009154785994590997</c:v>
                </c:pt>
                <c:pt idx="39">
                  <c:v>0.008784444005944135</c:v>
                </c:pt>
                <c:pt idx="40">
                  <c:v>0.008704463842708983</c:v>
                </c:pt>
                <c:pt idx="41">
                  <c:v>0.008418196454464923</c:v>
                </c:pt>
                <c:pt idx="42">
                  <c:v>0.008284001947693253</c:v>
                </c:pt>
                <c:pt idx="43">
                  <c:v>0.008036602816230124</c:v>
                </c:pt>
                <c:pt idx="44">
                  <c:v>0.007878938555030659</c:v>
                </c:pt>
                <c:pt idx="45">
                  <c:v>0.007709785170540692</c:v>
                </c:pt>
                <c:pt idx="46">
                  <c:v>0.007510182702032049</c:v>
                </c:pt>
                <c:pt idx="47">
                  <c:v>0.0071587917252212965</c:v>
                </c:pt>
                <c:pt idx="48">
                  <c:v>0.006917173327718248</c:v>
                </c:pt>
                <c:pt idx="49">
                  <c:v>0.00684331656251344</c:v>
                </c:pt>
                <c:pt idx="50">
                  <c:v>0.006649745079867937</c:v>
                </c:pt>
                <c:pt idx="51">
                  <c:v>0.006547808972695811</c:v>
                </c:pt>
                <c:pt idx="52">
                  <c:v>0.006320290100610381</c:v>
                </c:pt>
                <c:pt idx="53">
                  <c:v>0.006168852182530521</c:v>
                </c:pt>
                <c:pt idx="54">
                  <c:v>0.0059207475301097795</c:v>
                </c:pt>
                <c:pt idx="55">
                  <c:v>0.0058052458633370265</c:v>
                </c:pt>
                <c:pt idx="56">
                  <c:v>0.0052692813494354335</c:v>
                </c:pt>
                <c:pt idx="57">
                  <c:v>0.004939678832382896</c:v>
                </c:pt>
                <c:pt idx="58">
                  <c:v>0.004939309113247492</c:v>
                </c:pt>
                <c:pt idx="59">
                  <c:v>0.004730114238118193</c:v>
                </c:pt>
                <c:pt idx="60">
                  <c:v>0.004692903246832086</c:v>
                </c:pt>
                <c:pt idx="61">
                  <c:v>0.004611944264698247</c:v>
                </c:pt>
                <c:pt idx="62">
                  <c:v>0.004555880033305266</c:v>
                </c:pt>
                <c:pt idx="63">
                  <c:v>0.0045422487872412345</c:v>
                </c:pt>
                <c:pt idx="64">
                  <c:v>0.004396706162908444</c:v>
                </c:pt>
                <c:pt idx="65">
                  <c:v>0.004366562158492432</c:v>
                </c:pt>
                <c:pt idx="66">
                  <c:v>0.004198595298159297</c:v>
                </c:pt>
                <c:pt idx="67">
                  <c:v>0.004006647521349066</c:v>
                </c:pt>
                <c:pt idx="68">
                  <c:v>0.003811443598860777</c:v>
                </c:pt>
                <c:pt idx="69">
                  <c:v>0.003789785177344274</c:v>
                </c:pt>
                <c:pt idx="70">
                  <c:v>0.0034984080074082387</c:v>
                </c:pt>
                <c:pt idx="71">
                  <c:v>0.0034412758477893432</c:v>
                </c:pt>
                <c:pt idx="72">
                  <c:v>0.0032616877666868946</c:v>
                </c:pt>
                <c:pt idx="73">
                  <c:v>0.002900471928961321</c:v>
                </c:pt>
                <c:pt idx="74">
                  <c:v>0.002780539505702045</c:v>
                </c:pt>
                <c:pt idx="75">
                  <c:v>0.0026263972991571374</c:v>
                </c:pt>
                <c:pt idx="76">
                  <c:v>0.0024116394344942424</c:v>
                </c:pt>
                <c:pt idx="77">
                  <c:v>0.002401464739934198</c:v>
                </c:pt>
                <c:pt idx="78">
                  <c:v>0.0018611145765509004</c:v>
                </c:pt>
                <c:pt idx="79">
                  <c:v>0.0018476583495915875</c:v>
                </c:pt>
                <c:pt idx="80">
                  <c:v>0.001164114386621533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6</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7</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Advanced Protection</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3967840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892129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282885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0179352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676449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08904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201688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99270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17667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10979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584647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aby</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034898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68099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8/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8742781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544995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65915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457152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537228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15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37005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044964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8/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0486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eautycare</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94208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Kids</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522663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Ozon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Hawaiian Tropic Ozono Stick FPS50+ 15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7099787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ilk Hydration</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6</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865581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Sport</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8/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7</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Banana Boat Aqua Protect Sport Spray FPS50+ 2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475879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250889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8/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57871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331</Words>
  <Application>Microsoft Office PowerPoint</Application>
  <PresentationFormat>On-screen Show (16:9)</PresentationFormat>
  <Paragraphs>1826</Paragraphs>
  <Slides>28</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8-18T15:4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